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27C4E3F3-AB19-47C5-9253-D35CE8F8843A}">
          <p14:sldIdLst>
            <p14:sldId id="2147477365"/>
          </p14:sldIdLst>
        </p14:section>
        <p14:section name="Segments Price Correlation Analysis P3Y" id="{4A0978A5-3997-4ACC-AED5-C11305CACAF2}">
          <p14:sldIdLst>
            <p14:sldId id="2147477366"/>
            <p14:sldId id="2147477367"/>
            <p14:sldId id="2147477368"/>
            <p14:sldId id="2147477369"/>
            <p14:sldId id="2147477370"/>
            <p14:sldId id="2147477371"/>
            <p14:sldId id="2147477372"/>
            <p14:sldId id="214747737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notesMaster" Target="notesMasters/notesMaster1.xml"/><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9"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5346799284251931</c:v>
                </c:pt>
                <c:pt idx="1">
                  <c:v>0.5215377685182578</c:v>
                </c:pt>
                <c:pt idx="2">
                  <c:v>0.5308726634505644</c:v>
                </c:pt>
                <c:pt idx="3">
                  <c:v>0.47935778003033036</c:v>
                </c:pt>
                <c:pt idx="4">
                  <c:v>0.4907979554189818</c:v>
                </c:pt>
                <c:pt idx="5">
                  <c:v>0.4716118084114293</c:v>
                </c:pt>
                <c:pt idx="6">
                  <c:v>0.47935392437613233</c:v>
                </c:pt>
                <c:pt idx="7">
                  <c:v>0.4718392236766884</c:v>
                </c:pt>
                <c:pt idx="8">
                  <c:v>0.47494222426038</c:v>
                </c:pt>
                <c:pt idx="9">
                  <c:v>0.46045481140773736</c:v>
                </c:pt>
                <c:pt idx="10">
                  <c:v>0.47667242582663294</c:v>
                </c:pt>
                <c:pt idx="11">
                  <c:v>0.47556360612188736</c:v>
                </c:pt>
                <c:pt idx="12">
                  <c:v>0.4658147430473248</c:v>
                </c:pt>
                <c:pt idx="13">
                  <c:v>0.47949243143328174</c:v>
                </c:pt>
                <c:pt idx="14">
                  <c:v>0.4619167920092291</c:v>
                </c:pt>
                <c:pt idx="15">
                  <c:v>0.4732625398251162</c:v>
                </c:pt>
                <c:pt idx="16">
                  <c:v>0.4553825378235617</c:v>
                </c:pt>
                <c:pt idx="17">
                  <c:v>0.44376698061611536</c:v>
                </c:pt>
                <c:pt idx="18">
                  <c:v>0.4478388167234259</c:v>
                </c:pt>
                <c:pt idx="19">
                  <c:v>0.4939223138366401</c:v>
                </c:pt>
                <c:pt idx="20">
                  <c:v>0.5004224873713924</c:v>
                </c:pt>
                <c:pt idx="21">
                  <c:v>0.49299027672910356</c:v>
                </c:pt>
                <c:pt idx="22">
                  <c:v>0.46377699136556794</c:v>
                </c:pt>
                <c:pt idx="23">
                  <c:v>0.45323910132420775</c:v>
                </c:pt>
                <c:pt idx="24">
                  <c:v>0.4622183023079502</c:v>
                </c:pt>
                <c:pt idx="25">
                  <c:v>0.4442741755259713</c:v>
                </c:pt>
                <c:pt idx="26">
                  <c:v>0.44701533956399275</c:v>
                </c:pt>
                <c:pt idx="27">
                  <c:v>0.4889807897952365</c:v>
                </c:pt>
                <c:pt idx="28">
                  <c:v>0.4651823823494466</c:v>
                </c:pt>
                <c:pt idx="29">
                  <c:v>0.46633026764026864</c:v>
                </c:pt>
                <c:pt idx="30">
                  <c:v>0.45940652149385086</c:v>
                </c:pt>
                <c:pt idx="31">
                  <c:v>0.44359238363892806</c:v>
                </c:pt>
                <c:pt idx="32">
                  <c:v>0.4167821099074138</c:v>
                </c:pt>
                <c:pt idx="33">
                  <c:v>0.4592808832364716</c:v>
                </c:pt>
                <c:pt idx="34">
                  <c:v>0.4414870111761804</c:v>
                </c:pt>
                <c:pt idx="35">
                  <c:v>0.5233900031476681</c:v>
                </c:pt>
                <c:pt idx="36">
                  <c:v>0.49806721328880066</c:v>
                </c:pt>
                <c:pt idx="37">
                  <c:v>0.49239537455449445</c:v>
                </c:pt>
                <c:pt idx="38">
                  <c:v>0.5102494854850335</c:v>
                </c:pt>
                <c:pt idx="39">
                  <c:v>0.4821544680292242</c:v>
                </c:pt>
                <c:pt idx="40">
                  <c:v>0.46280295367955154</c:v>
                </c:pt>
                <c:pt idx="41">
                  <c:v>0.47819682466024843</c:v>
                </c:pt>
                <c:pt idx="42">
                  <c:v>0.4683171703593461</c:v>
                </c:pt>
                <c:pt idx="43">
                  <c:v>0.45665463384548405</c:v>
                </c:pt>
                <c:pt idx="44">
                  <c:v>0.45161610239447425</c:v>
                </c:pt>
                <c:pt idx="45">
                  <c:v>0.46866456210149</c:v>
                </c:pt>
                <c:pt idx="46">
                  <c:v>0.46727839635230967</c:v>
                </c:pt>
                <c:pt idx="47">
                  <c:v>0.5136201110040761</c:v>
                </c:pt>
                <c:pt idx="48">
                  <c:v>0.49739490577759377</c:v>
                </c:pt>
                <c:pt idx="49">
                  <c:v>0.517090315239589</c:v>
                </c:pt>
                <c:pt idx="50">
                  <c:v>0.5054475650530128</c:v>
                </c:pt>
                <c:pt idx="51">
                  <c:v>0.5086150522661688</c:v>
                </c:pt>
                <c:pt idx="52">
                  <c:v>0.534623667569433</c:v>
                </c:pt>
                <c:pt idx="53">
                  <c:v>0.4761426259506457</c:v>
                </c:pt>
                <c:pt idx="54">
                  <c:v>0.49061367284006274</c:v>
                </c:pt>
                <c:pt idx="55">
                  <c:v>0.47899598989159076</c:v>
                </c:pt>
                <c:pt idx="56">
                  <c:v>0.45624299407498914</c:v>
                </c:pt>
                <c:pt idx="57">
                  <c:v>0.4669233332645219</c:v>
                </c:pt>
                <c:pt idx="58">
                  <c:v>0.47310996987087095</c:v>
                </c:pt>
                <c:pt idx="59">
                  <c:v>0.46997119496707157</c:v>
                </c:pt>
                <c:pt idx="60">
                  <c:v>0.444796718938212</c:v>
                </c:pt>
                <c:pt idx="61">
                  <c:v>0.46851800732979376</c:v>
                </c:pt>
                <c:pt idx="62">
                  <c:v>0.4717291005538837</c:v>
                </c:pt>
                <c:pt idx="63">
                  <c:v>0.47230187676695917</c:v>
                </c:pt>
                <c:pt idx="64">
                  <c:v>0.4630703947152154</c:v>
                </c:pt>
                <c:pt idx="65">
                  <c:v>0.4734452959494345</c:v>
                </c:pt>
                <c:pt idx="66">
                  <c:v>0.45498725129121537</c:v>
                </c:pt>
                <c:pt idx="67">
                  <c:v>0.48803514016583</c:v>
                </c:pt>
                <c:pt idx="68">
                  <c:v>0.5129176797898453</c:v>
                </c:pt>
                <c:pt idx="69">
                  <c:v>0.49879613495960723</c:v>
                </c:pt>
                <c:pt idx="70">
                  <c:v>0.5064484530688649</c:v>
                </c:pt>
                <c:pt idx="71">
                  <c:v>0.5098248742123003</c:v>
                </c:pt>
                <c:pt idx="72">
                  <c:v>0.5265230539936754</c:v>
                </c:pt>
                <c:pt idx="73">
                  <c:v>0.5136549127983935</c:v>
                </c:pt>
                <c:pt idx="74">
                  <c:v>0.500187931440166</c:v>
                </c:pt>
                <c:pt idx="75">
                  <c:v>0.4170609460700263</c:v>
                </c:pt>
                <c:pt idx="76">
                  <c:v>0.43209799892864204</c:v>
                </c:pt>
                <c:pt idx="77">
                  <c:v>0.46078134224924777</c:v>
                </c:pt>
              </c:numCache>
            </c:numRef>
          </c:xVal>
          <c:yVal>
            <c:numRef>
              <c:f>Sheet1!$B$2:$B$79</c:f>
              <c:numCache>
                <c:formatCode>General</c:formatCode>
                <c:ptCount val="78"/>
                <c:pt idx="0">
                  <c:v>0.09616223288268644</c:v>
                </c:pt>
                <c:pt idx="1">
                  <c:v>0.09129967776584318</c:v>
                </c:pt>
                <c:pt idx="2">
                  <c:v>0.09105914718019258</c:v>
                </c:pt>
                <c:pt idx="3">
                  <c:v>0.08078335373317014</c:v>
                </c:pt>
                <c:pt idx="4">
                  <c:v>0.12818035426731078</c:v>
                </c:pt>
                <c:pt idx="5">
                  <c:v>0.1468760222440301</c:v>
                </c:pt>
                <c:pt idx="6">
                  <c:v>0.136680208937899</c:v>
                </c:pt>
                <c:pt idx="7">
                  <c:v>0.14058679706601468</c:v>
                </c:pt>
                <c:pt idx="8">
                  <c:v>0.15672205438066467</c:v>
                </c:pt>
                <c:pt idx="9">
                  <c:v>0.14804469273743018</c:v>
                </c:pt>
                <c:pt idx="10">
                  <c:v>0.14801699716713881</c:v>
                </c:pt>
                <c:pt idx="11">
                  <c:v>0.16045038705137227</c:v>
                </c:pt>
                <c:pt idx="12">
                  <c:v>0.11491584445734185</c:v>
                </c:pt>
                <c:pt idx="13">
                  <c:v>0.17775603392041747</c:v>
                </c:pt>
                <c:pt idx="14">
                  <c:v>0.19125048393341076</c:v>
                </c:pt>
                <c:pt idx="15">
                  <c:v>0.21162613981762918</c:v>
                </c:pt>
                <c:pt idx="16">
                  <c:v>0.1967280163599182</c:v>
                </c:pt>
                <c:pt idx="17">
                  <c:v>0.21914594087282965</c:v>
                </c:pt>
                <c:pt idx="18">
                  <c:v>0.22062712504722326</c:v>
                </c:pt>
                <c:pt idx="19">
                  <c:v>0.1546801590169859</c:v>
                </c:pt>
                <c:pt idx="20">
                  <c:v>0.13297705124174788</c:v>
                </c:pt>
                <c:pt idx="21">
                  <c:v>0.10929622907844323</c:v>
                </c:pt>
                <c:pt idx="22">
                  <c:v>0.15969130305728702</c:v>
                </c:pt>
                <c:pt idx="23">
                  <c:v>0.16817906836055657</c:v>
                </c:pt>
                <c:pt idx="24">
                  <c:v>0.1771125662613034</c:v>
                </c:pt>
                <c:pt idx="25">
                  <c:v>0.18748128182090446</c:v>
                </c:pt>
                <c:pt idx="26">
                  <c:v>0.12977752424415287</c:v>
                </c:pt>
                <c:pt idx="27">
                  <c:v>0.17620041753653445</c:v>
                </c:pt>
                <c:pt idx="28">
                  <c:v>0.14989384288747346</c:v>
                </c:pt>
                <c:pt idx="29">
                  <c:v>0.16194331983805668</c:v>
                </c:pt>
                <c:pt idx="30">
                  <c:v>0.16467915956842702</c:v>
                </c:pt>
                <c:pt idx="31">
                  <c:v>0.18135376756066413</c:v>
                </c:pt>
                <c:pt idx="32">
                  <c:v>0.19225352112676056</c:v>
                </c:pt>
                <c:pt idx="33">
                  <c:v>0.1891891891891892</c:v>
                </c:pt>
                <c:pt idx="34">
                  <c:v>0.15974183138362244</c:v>
                </c:pt>
                <c:pt idx="35">
                  <c:v>0.16836043360433606</c:v>
                </c:pt>
                <c:pt idx="36">
                  <c:v>0.12784738041002278</c:v>
                </c:pt>
                <c:pt idx="37">
                  <c:v>0.17952964557800596</c:v>
                </c:pt>
                <c:pt idx="38">
                  <c:v>0.15119363395225463</c:v>
                </c:pt>
                <c:pt idx="39">
                  <c:v>0.12577833125778332</c:v>
                </c:pt>
                <c:pt idx="40">
                  <c:v>0.20136641495864796</c:v>
                </c:pt>
                <c:pt idx="41">
                  <c:v>0.19599198396793588</c:v>
                </c:pt>
                <c:pt idx="42">
                  <c:v>0.17054545454545456</c:v>
                </c:pt>
                <c:pt idx="43">
                  <c:v>0.2215909090909091</c:v>
                </c:pt>
                <c:pt idx="44">
                  <c:v>0.17203107658157601</c:v>
                </c:pt>
                <c:pt idx="45">
                  <c:v>0.1456953642384106</c:v>
                </c:pt>
                <c:pt idx="46">
                  <c:v>0.09558191507649992</c:v>
                </c:pt>
                <c:pt idx="47">
                  <c:v>0.12798579728857326</c:v>
                </c:pt>
                <c:pt idx="48">
                  <c:v>0.10033042955842596</c:v>
                </c:pt>
                <c:pt idx="49">
                  <c:v>0.10361806893598802</c:v>
                </c:pt>
                <c:pt idx="50">
                  <c:v>0.08973582161900145</c:v>
                </c:pt>
                <c:pt idx="51">
                  <c:v>0.10542346236981726</c:v>
                </c:pt>
                <c:pt idx="52">
                  <c:v>0.10469576034000207</c:v>
                </c:pt>
                <c:pt idx="53">
                  <c:v>0.11856474258970359</c:v>
                </c:pt>
                <c:pt idx="54">
                  <c:v>0.137</c:v>
                </c:pt>
                <c:pt idx="55">
                  <c:v>0.12409000661813369</c:v>
                </c:pt>
                <c:pt idx="56">
                  <c:v>0.12080745341614907</c:v>
                </c:pt>
                <c:pt idx="57">
                  <c:v>0.17971014492753623</c:v>
                </c:pt>
                <c:pt idx="58">
                  <c:v>0.19298245614035087</c:v>
                </c:pt>
                <c:pt idx="59">
                  <c:v>0.2118918918918919</c:v>
                </c:pt>
                <c:pt idx="60">
                  <c:v>0.16320716320716322</c:v>
                </c:pt>
                <c:pt idx="61">
                  <c:v>0.1855586930213796</c:v>
                </c:pt>
                <c:pt idx="62">
                  <c:v>0.17212460063897764</c:v>
                </c:pt>
                <c:pt idx="63">
                  <c:v>0.16847372810675562</c:v>
                </c:pt>
                <c:pt idx="64">
                  <c:v>0.1443953616786306</c:v>
                </c:pt>
                <c:pt idx="65">
                  <c:v>0.20608575380359612</c:v>
                </c:pt>
                <c:pt idx="66">
                  <c:v>0.2011404872991187</c:v>
                </c:pt>
                <c:pt idx="67">
                  <c:v>0.2797825012357884</c:v>
                </c:pt>
                <c:pt idx="68">
                  <c:v>0.21011004126547456</c:v>
                </c:pt>
                <c:pt idx="69">
                  <c:v>0.28040117007939824</c:v>
                </c:pt>
                <c:pt idx="70">
                  <c:v>0.2952495490078172</c:v>
                </c:pt>
                <c:pt idx="71">
                  <c:v>0.16103896103896104</c:v>
                </c:pt>
                <c:pt idx="72">
                  <c:v>0.11516694963214488</c:v>
                </c:pt>
                <c:pt idx="73">
                  <c:v>0.13898809523809524</c:v>
                </c:pt>
                <c:pt idx="74">
                  <c:v>0.1590594744121715</c:v>
                </c:pt>
                <c:pt idx="75">
                  <c:v>0.32078907435508347</c:v>
                </c:pt>
                <c:pt idx="76">
                  <c:v>0.2693420101229212</c:v>
                </c:pt>
                <c:pt idx="77">
                  <c:v>0.2143078352431093</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3993484478170597</c:v>
                </c:pt>
                <c:pt idx="1">
                  <c:v>0.4206517463729941</c:v>
                </c:pt>
                <c:pt idx="2">
                  <c:v>0.42933791723613207</c:v>
                </c:pt>
                <c:pt idx="3">
                  <c:v>0.4173100325456346</c:v>
                </c:pt>
                <c:pt idx="4">
                  <c:v>0.4269585398901071</c:v>
                </c:pt>
                <c:pt idx="5">
                  <c:v>0.4460216606498195</c:v>
                </c:pt>
                <c:pt idx="6">
                  <c:v>0.4246364030851496</c:v>
                </c:pt>
                <c:pt idx="7">
                  <c:v>0.4408003383413219</c:v>
                </c:pt>
                <c:pt idx="8">
                  <c:v>0.4216956608962767</c:v>
                </c:pt>
                <c:pt idx="9">
                  <c:v>0.4692968185764206</c:v>
                </c:pt>
                <c:pt idx="10">
                  <c:v>0.5350627807395786</c:v>
                </c:pt>
                <c:pt idx="11">
                  <c:v>0.5297126696041695</c:v>
                </c:pt>
                <c:pt idx="12">
                  <c:v>0.5394388179211834</c:v>
                </c:pt>
                <c:pt idx="13">
                  <c:v>0.5463899470204475</c:v>
                </c:pt>
                <c:pt idx="14">
                  <c:v>0.44015566315217886</c:v>
                </c:pt>
                <c:pt idx="15">
                  <c:v>0.4218157640977319</c:v>
                </c:pt>
                <c:pt idx="16">
                  <c:v>0.4195376306122032</c:v>
                </c:pt>
                <c:pt idx="17">
                  <c:v>0.42262402376377445</c:v>
                </c:pt>
                <c:pt idx="18">
                  <c:v>0.43873945316827706</c:v>
                </c:pt>
                <c:pt idx="19">
                  <c:v>0.45724992640483064</c:v>
                </c:pt>
                <c:pt idx="20">
                  <c:v>0.5366342956589192</c:v>
                </c:pt>
                <c:pt idx="21">
                  <c:v>0.5572404994380737</c:v>
                </c:pt>
                <c:pt idx="22">
                  <c:v>0.5360564535814054</c:v>
                </c:pt>
                <c:pt idx="23">
                  <c:v>0.5151858486486838</c:v>
                </c:pt>
                <c:pt idx="24">
                  <c:v>0.5355010019541836</c:v>
                </c:pt>
                <c:pt idx="25">
                  <c:v>0.5347678034655811</c:v>
                </c:pt>
                <c:pt idx="26">
                  <c:v>0.5262907315899729</c:v>
                </c:pt>
                <c:pt idx="27">
                  <c:v>0.5151935418352902</c:v>
                </c:pt>
                <c:pt idx="28">
                  <c:v>0.46081818181818185</c:v>
                </c:pt>
                <c:pt idx="29">
                  <c:v>0.46644741677607554</c:v>
                </c:pt>
                <c:pt idx="30">
                  <c:v>0.4777677928212289</c:v>
                </c:pt>
                <c:pt idx="31">
                  <c:v>0.536003891768574</c:v>
                </c:pt>
                <c:pt idx="32">
                  <c:v>0.4637851554239797</c:v>
                </c:pt>
                <c:pt idx="33">
                  <c:v>0.4537366012931498</c:v>
                </c:pt>
                <c:pt idx="34">
                  <c:v>0.4453598837250125</c:v>
                </c:pt>
                <c:pt idx="35">
                  <c:v>0.4666574123457512</c:v>
                </c:pt>
                <c:pt idx="36">
                  <c:v>0.4572219344585754</c:v>
                </c:pt>
                <c:pt idx="37">
                  <c:v>0.4551856115107914</c:v>
                </c:pt>
                <c:pt idx="38">
                  <c:v>0.4492181278760844</c:v>
                </c:pt>
                <c:pt idx="39">
                  <c:v>0.455628135782628</c:v>
                </c:pt>
                <c:pt idx="40">
                  <c:v>0.4518771700615916</c:v>
                </c:pt>
                <c:pt idx="41">
                  <c:v>0.45817501042050474</c:v>
                </c:pt>
                <c:pt idx="42">
                  <c:v>0.41342872621461163</c:v>
                </c:pt>
                <c:pt idx="43">
                  <c:v>0.4252020736623765</c:v>
                </c:pt>
                <c:pt idx="44">
                  <c:v>0.42704210121935604</c:v>
                </c:pt>
                <c:pt idx="45">
                  <c:v>0.427280350454084</c:v>
                </c:pt>
                <c:pt idx="46">
                  <c:v>0.49694385963237203</c:v>
                </c:pt>
                <c:pt idx="47">
                  <c:v>0.5130131618928817</c:v>
                </c:pt>
                <c:pt idx="48">
                  <c:v>0.4654398980032007</c:v>
                </c:pt>
                <c:pt idx="49">
                  <c:v>0.4838893250484534</c:v>
                </c:pt>
                <c:pt idx="50">
                  <c:v>0.459894549200727</c:v>
                </c:pt>
                <c:pt idx="51">
                  <c:v>0.4442710821892129</c:v>
                </c:pt>
              </c:numCache>
            </c:numRef>
          </c:xVal>
          <c:yVal>
            <c:numRef>
              <c:f>Sheet1!$B$82:$B$133</c:f>
              <c:numCache>
                <c:formatCode>General</c:formatCode>
                <c:ptCount val="52"/>
                <c:pt idx="0">
                  <c:v>0.21636363636363637</c:v>
                </c:pt>
                <c:pt idx="1">
                  <c:v>0.2095617529880478</c:v>
                </c:pt>
                <c:pt idx="2">
                  <c:v>0.20843672456575682</c:v>
                </c:pt>
                <c:pt idx="3">
                  <c:v>0.22954091816367264</c:v>
                </c:pt>
                <c:pt idx="4">
                  <c:v>0.2156319290465632</c:v>
                </c:pt>
                <c:pt idx="5">
                  <c:v>0.20207612456747404</c:v>
                </c:pt>
                <c:pt idx="6">
                  <c:v>0.24292845257903495</c:v>
                </c:pt>
                <c:pt idx="7">
                  <c:v>0.23830877642536835</c:v>
                </c:pt>
                <c:pt idx="8">
                  <c:v>0.23792756539235413</c:v>
                </c:pt>
                <c:pt idx="9">
                  <c:v>0.14556716995741387</c:v>
                </c:pt>
                <c:pt idx="10">
                  <c:v>0.1474820143884892</c:v>
                </c:pt>
                <c:pt idx="11">
                  <c:v>0.17733990147783252</c:v>
                </c:pt>
                <c:pt idx="12">
                  <c:v>0.18062335711603456</c:v>
                </c:pt>
                <c:pt idx="13">
                  <c:v>0.11952971913781842</c:v>
                </c:pt>
                <c:pt idx="14">
                  <c:v>0.16968325791855204</c:v>
                </c:pt>
                <c:pt idx="15">
                  <c:v>0.2326423165514972</c:v>
                </c:pt>
                <c:pt idx="16">
                  <c:v>0.21740687679083096</c:v>
                </c:pt>
                <c:pt idx="17">
                  <c:v>0.24276410998552822</c:v>
                </c:pt>
                <c:pt idx="18">
                  <c:v>0.24905139703345983</c:v>
                </c:pt>
                <c:pt idx="19">
                  <c:v>0.19250871080139373</c:v>
                </c:pt>
                <c:pt idx="20">
                  <c:v>0.14213947990543735</c:v>
                </c:pt>
                <c:pt idx="21">
                  <c:v>0.19530102790014683</c:v>
                </c:pt>
                <c:pt idx="22">
                  <c:v>0.11936704506363949</c:v>
                </c:pt>
                <c:pt idx="23">
                  <c:v>0.09178990311065782</c:v>
                </c:pt>
                <c:pt idx="24">
                  <c:v>0.10214673271998113</c:v>
                </c:pt>
                <c:pt idx="25">
                  <c:v>0.10488702049395691</c:v>
                </c:pt>
                <c:pt idx="26">
                  <c:v>0.11372950819672131</c:v>
                </c:pt>
                <c:pt idx="27">
                  <c:v>0.14458177637252084</c:v>
                </c:pt>
                <c:pt idx="28">
                  <c:v>0.18455743879472694</c:v>
                </c:pt>
                <c:pt idx="29">
                  <c:v>0.20098039215686275</c:v>
                </c:pt>
                <c:pt idx="30">
                  <c:v>0.2002446982055465</c:v>
                </c:pt>
                <c:pt idx="31">
                  <c:v>0.14937898623699228</c:v>
                </c:pt>
                <c:pt idx="32">
                  <c:v>0.1274596182085169</c:v>
                </c:pt>
                <c:pt idx="33">
                  <c:v>0.216260162601626</c:v>
                </c:pt>
                <c:pt idx="34">
                  <c:v>0.21428571428571427</c:v>
                </c:pt>
                <c:pt idx="35">
                  <c:v>0.18446601941747573</c:v>
                </c:pt>
                <c:pt idx="36">
                  <c:v>0.15527681660899653</c:v>
                </c:pt>
                <c:pt idx="37">
                  <c:v>0.15806322529011604</c:v>
                </c:pt>
                <c:pt idx="38">
                  <c:v>0.1508029768899334</c:v>
                </c:pt>
                <c:pt idx="39">
                  <c:v>0.20158929318276872</c:v>
                </c:pt>
                <c:pt idx="40">
                  <c:v>0.20444638186573671</c:v>
                </c:pt>
                <c:pt idx="41">
                  <c:v>0.17519083969465649</c:v>
                </c:pt>
                <c:pt idx="42">
                  <c:v>0.2275219298245614</c:v>
                </c:pt>
                <c:pt idx="43">
                  <c:v>0.2556179775280899</c:v>
                </c:pt>
                <c:pt idx="44">
                  <c:v>0.2906666666666667</c:v>
                </c:pt>
                <c:pt idx="45">
                  <c:v>0.25608798114689707</c:v>
                </c:pt>
                <c:pt idx="46">
                  <c:v>0.16073384446878422</c:v>
                </c:pt>
                <c:pt idx="47">
                  <c:v>0.15538194444444445</c:v>
                </c:pt>
                <c:pt idx="48">
                  <c:v>0.14212586570310148</c:v>
                </c:pt>
                <c:pt idx="49">
                  <c:v>0.17498314227916387</c:v>
                </c:pt>
                <c:pt idx="50">
                  <c:v>0.2172651432716721</c:v>
                </c:pt>
                <c:pt idx="51">
                  <c:v>0.17515573470135581</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4268340207994378</c:v>
                </c:pt>
              </c:numCache>
            </c:numRef>
          </c:xVal>
          <c:yVal>
            <c:numRef>
              <c:f>Sheet1!$B$136:$B$137</c:f>
              <c:numCache>
                <c:formatCode>General</c:formatCode>
                <c:ptCount val="2"/>
                <c:pt idx="0">
                  <c:v>0.21934322328720615</c:v>
                </c:pt>
                <c:pt idx="1">
                  <c:v>0.21934322328720615</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4268340207994378</c:v>
                </c:pt>
                <c:pt idx="1">
                  <c:v>0.4268340207994378</c:v>
                </c:pt>
              </c:numCache>
            </c:numRef>
          </c:xVal>
          <c:yVal>
            <c:numRef>
              <c:f>Sheet1!$B$140:$B$141</c:f>
              <c:numCache>
                <c:formatCode>General</c:formatCode>
                <c:ptCount val="2"/>
                <c:pt idx="0">
                  <c:v>0.219343223287206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4463044915891715</c:v>
                </c:pt>
              </c:numCache>
            </c:numRef>
          </c:xVal>
          <c:yVal>
            <c:numRef>
              <c:f>Sheet1!$B$144:$B$145</c:f>
              <c:numCache>
                <c:formatCode>General</c:formatCode>
                <c:ptCount val="2"/>
                <c:pt idx="0">
                  <c:v>0.20398371715628297</c:v>
                </c:pt>
                <c:pt idx="1">
                  <c:v>0.20398371715628297</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463044915891715</c:v>
                </c:pt>
                <c:pt idx="1">
                  <c:v>0.4463044915891715</c:v>
                </c:pt>
              </c:numCache>
            </c:numRef>
          </c:xVal>
          <c:yVal>
            <c:numRef>
              <c:f>Sheet1!$B$148:$B$149</c:f>
              <c:numCache>
                <c:formatCode>General</c:formatCode>
                <c:ptCount val="2"/>
                <c:pt idx="0">
                  <c:v>0.203983717156282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4477692682563822</c:v>
                </c:pt>
              </c:numCache>
            </c:numRef>
          </c:xVal>
          <c:yVal>
            <c:numRef>
              <c:f>Sheet1!$B$152:$B$153</c:f>
              <c:numCache>
                <c:formatCode>General</c:formatCode>
                <c:ptCount val="2"/>
                <c:pt idx="0">
                  <c:v>0.20282821113676144</c:v>
                </c:pt>
                <c:pt idx="1">
                  <c:v>0.20282821113676144</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477692682563822</c:v>
                </c:pt>
                <c:pt idx="1">
                  <c:v>0.4477692682563822</c:v>
                </c:pt>
              </c:numCache>
            </c:numRef>
          </c:xVal>
          <c:yVal>
            <c:numRef>
              <c:f>Sheet1!$B$156:$B$157</c:f>
              <c:numCache>
                <c:formatCode>General</c:formatCode>
                <c:ptCount val="2"/>
                <c:pt idx="0">
                  <c:v>0.2028282111367614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3993484478170597</c:v>
                </c:pt>
                <c:pt idx="1">
                  <c:v>0.4206517463729941</c:v>
                </c:pt>
                <c:pt idx="2">
                  <c:v>0.42933791723613207</c:v>
                </c:pt>
                <c:pt idx="3">
                  <c:v>0.4173100325456346</c:v>
                </c:pt>
                <c:pt idx="4">
                  <c:v>0.4269585398901071</c:v>
                </c:pt>
                <c:pt idx="5">
                  <c:v>0.4460216606498195</c:v>
                </c:pt>
                <c:pt idx="6">
                  <c:v>0.4246364030851496</c:v>
                </c:pt>
                <c:pt idx="7">
                  <c:v>0.4408003383413219</c:v>
                </c:pt>
                <c:pt idx="8">
                  <c:v>0.4216956608962767</c:v>
                </c:pt>
                <c:pt idx="9">
                  <c:v>0.4692968185764206</c:v>
                </c:pt>
                <c:pt idx="10">
                  <c:v>0.5350627807395786</c:v>
                </c:pt>
                <c:pt idx="11">
                  <c:v>0.5297126696041695</c:v>
                </c:pt>
                <c:pt idx="12">
                  <c:v>0.5394388179211834</c:v>
                </c:pt>
                <c:pt idx="13">
                  <c:v>0.5463899470204475</c:v>
                </c:pt>
                <c:pt idx="14">
                  <c:v>0.44015566315217886</c:v>
                </c:pt>
                <c:pt idx="15">
                  <c:v>0.4218157640977319</c:v>
                </c:pt>
                <c:pt idx="16">
                  <c:v>0.4195376306122032</c:v>
                </c:pt>
                <c:pt idx="17">
                  <c:v>0.42262402376377445</c:v>
                </c:pt>
                <c:pt idx="18">
                  <c:v>0.43873945316827706</c:v>
                </c:pt>
                <c:pt idx="19">
                  <c:v>0.45724992640483064</c:v>
                </c:pt>
                <c:pt idx="20">
                  <c:v>0.5366342956589192</c:v>
                </c:pt>
                <c:pt idx="21">
                  <c:v>0.5572404994380737</c:v>
                </c:pt>
                <c:pt idx="22">
                  <c:v>0.5360564535814054</c:v>
                </c:pt>
                <c:pt idx="23">
                  <c:v>0.5151858486486838</c:v>
                </c:pt>
                <c:pt idx="24">
                  <c:v>0.5355010019541836</c:v>
                </c:pt>
                <c:pt idx="25">
                  <c:v>0.5347678034655811</c:v>
                </c:pt>
                <c:pt idx="26">
                  <c:v>0.5262907315899729</c:v>
                </c:pt>
                <c:pt idx="27">
                  <c:v>0.5151935418352902</c:v>
                </c:pt>
                <c:pt idx="28">
                  <c:v>0.46081818181818185</c:v>
                </c:pt>
                <c:pt idx="29">
                  <c:v>0.46644741677607554</c:v>
                </c:pt>
                <c:pt idx="30">
                  <c:v>0.4777677928212289</c:v>
                </c:pt>
                <c:pt idx="31">
                  <c:v>0.536003891768574</c:v>
                </c:pt>
                <c:pt idx="32">
                  <c:v>0.4637851554239797</c:v>
                </c:pt>
                <c:pt idx="33">
                  <c:v>0.4537366012931498</c:v>
                </c:pt>
                <c:pt idx="34">
                  <c:v>0.4453598837250125</c:v>
                </c:pt>
                <c:pt idx="35">
                  <c:v>0.4666574123457512</c:v>
                </c:pt>
                <c:pt idx="36">
                  <c:v>0.4572219344585754</c:v>
                </c:pt>
                <c:pt idx="37">
                  <c:v>0.4551856115107914</c:v>
                </c:pt>
                <c:pt idx="38">
                  <c:v>0.4492181278760844</c:v>
                </c:pt>
                <c:pt idx="39">
                  <c:v>0.455628135782628</c:v>
                </c:pt>
                <c:pt idx="40">
                  <c:v>0.4518771700615916</c:v>
                </c:pt>
                <c:pt idx="41">
                  <c:v>0.45817501042050474</c:v>
                </c:pt>
                <c:pt idx="42">
                  <c:v>0.41342872621461163</c:v>
                </c:pt>
                <c:pt idx="43">
                  <c:v>0.4252020736623765</c:v>
                </c:pt>
                <c:pt idx="44">
                  <c:v>0.42704210121935604</c:v>
                </c:pt>
                <c:pt idx="45">
                  <c:v>0.427280350454084</c:v>
                </c:pt>
                <c:pt idx="46">
                  <c:v>0.49694385963237203</c:v>
                </c:pt>
                <c:pt idx="47">
                  <c:v>0.5130131618928817</c:v>
                </c:pt>
                <c:pt idx="48">
                  <c:v>0.4654398980032007</c:v>
                </c:pt>
                <c:pt idx="49">
                  <c:v>0.4838893250484534</c:v>
                </c:pt>
                <c:pt idx="50">
                  <c:v>0.459894549200727</c:v>
                </c:pt>
                <c:pt idx="51">
                  <c:v>0.4442710821892129</c:v>
                </c:pt>
                <c:pt idx="52">
                  <c:v>0.4463044915891715</c:v>
                </c:pt>
                <c:pt idx="53">
                  <c:v>0.4268340207994378</c:v>
                </c:pt>
                <c:pt idx="54">
                  <c:v>0.4477692682563822</c:v>
                </c:pt>
              </c:numCache>
            </c:numRef>
          </c:xVal>
          <c:yVal>
            <c:numRef>
              <c:f>Sheet1!$B$160:$B$214</c:f>
              <c:numCache>
                <c:formatCode>General</c:formatCode>
                <c:ptCount val="55"/>
                <c:pt idx="0">
                  <c:v>0.20900848672901806</c:v>
                </c:pt>
                <c:pt idx="1">
                  <c:v>0.22422018198951343</c:v>
                </c:pt>
                <c:pt idx="2">
                  <c:v>0.21736799561624087</c:v>
                </c:pt>
                <c:pt idx="3">
                  <c:v>0.22685633160158042</c:v>
                </c:pt>
                <c:pt idx="4">
                  <c:v>0.219244994962005</c:v>
                </c:pt>
                <c:pt idx="5">
                  <c:v>0.20420683161478298</c:v>
                </c:pt>
                <c:pt idx="6">
                  <c:v>0.22107683944474826</c:v>
                </c:pt>
                <c:pt idx="7">
                  <c:v>0.20832573212186167</c:v>
                </c:pt>
                <c:pt idx="8">
                  <c:v>0.2233966779410662</c:v>
                </c:pt>
                <c:pt idx="9">
                  <c:v>0.18584595402057852</c:v>
                </c:pt>
                <c:pt idx="10">
                  <c:v>0.13396571394011253</c:v>
                </c:pt>
                <c:pt idx="11">
                  <c:v>0.13818621100322226</c:v>
                </c:pt>
                <c:pt idx="12">
                  <c:v>0.13051362638425085</c:v>
                </c:pt>
                <c:pt idx="13">
                  <c:v>0.12503014777862415</c:v>
                </c:pt>
                <c:pt idx="14">
                  <c:v>0.20883429160288447</c:v>
                </c:pt>
                <c:pt idx="15">
                  <c:v>0.22330193314115782</c:v>
                </c:pt>
                <c:pt idx="16">
                  <c:v>0.2250990650963075</c:v>
                </c:pt>
                <c:pt idx="17">
                  <c:v>0.2226643281530697</c:v>
                </c:pt>
                <c:pt idx="18">
                  <c:v>0.2099514852324234</c:v>
                </c:pt>
                <c:pt idx="19">
                  <c:v>0.1953492842772701</c:v>
                </c:pt>
                <c:pt idx="20">
                  <c:v>0.13272600621557323</c:v>
                </c:pt>
                <c:pt idx="21">
                  <c:v>0.11647056397696748</c:v>
                </c:pt>
                <c:pt idx="22">
                  <c:v>0.13318184362331364</c:v>
                </c:pt>
                <c:pt idx="23">
                  <c:v>0.14964586177069394</c:v>
                </c:pt>
                <c:pt idx="24">
                  <c:v>0.13362001806531243</c:v>
                </c:pt>
                <c:pt idx="25">
                  <c:v>0.13419841017521517</c:v>
                </c:pt>
                <c:pt idx="26">
                  <c:v>0.14088564639316703</c:v>
                </c:pt>
                <c:pt idx="27">
                  <c:v>0.14963979291143914</c:v>
                </c:pt>
                <c:pt idx="28">
                  <c:v>0.19253442471429716</c:v>
                </c:pt>
                <c:pt idx="29">
                  <c:v>0.18809373759471476</c:v>
                </c:pt>
                <c:pt idx="30">
                  <c:v>0.17916352798922497</c:v>
                </c:pt>
                <c:pt idx="31">
                  <c:v>0.13322330761743867</c:v>
                </c:pt>
                <c:pt idx="32">
                  <c:v>0.19019389326127406</c:v>
                </c:pt>
                <c:pt idx="33">
                  <c:v>0.19812081143629706</c:v>
                </c:pt>
                <c:pt idx="34">
                  <c:v>0.20472888199782951</c:v>
                </c:pt>
                <c:pt idx="35">
                  <c:v>0.18792808016019602</c:v>
                </c:pt>
                <c:pt idx="36">
                  <c:v>0.19537136604790456</c:v>
                </c:pt>
                <c:pt idx="37">
                  <c:v>0.19697774296291576</c:v>
                </c:pt>
                <c:pt idx="38">
                  <c:v>0.20168526146430682</c:v>
                </c:pt>
                <c:pt idx="39">
                  <c:v>0.19662865257163764</c:v>
                </c:pt>
                <c:pt idx="40">
                  <c:v>0.19958764527455264</c:v>
                </c:pt>
                <c:pt idx="41">
                  <c:v>0.19461952104946684</c:v>
                </c:pt>
                <c:pt idx="42">
                  <c:v>0.22991814500255742</c:v>
                </c:pt>
                <c:pt idx="43">
                  <c:v>0.22063060366581783</c:v>
                </c:pt>
                <c:pt idx="44">
                  <c:v>0.21917907664072933</c:v>
                </c:pt>
                <c:pt idx="45">
                  <c:v>0.21899113097567524</c:v>
                </c:pt>
                <c:pt idx="46">
                  <c:v>0.16403626584269043</c:v>
                </c:pt>
                <c:pt idx="47">
                  <c:v>0.15135981085321498</c:v>
                </c:pt>
                <c:pt idx="48">
                  <c:v>0.18888853043440057</c:v>
                </c:pt>
                <c:pt idx="49">
                  <c:v>0.17433448647348132</c:v>
                </c:pt>
                <c:pt idx="50">
                  <c:v>0.19326304298982433</c:v>
                </c:pt>
                <c:pt idx="51">
                  <c:v>0.20558779568538604</c:v>
                </c:pt>
                <c:pt idx="52">
                  <c:v>0.20398371715628294</c:v>
                </c:pt>
                <c:pt idx="53">
                  <c:v>0.21934322328720612</c:v>
                </c:pt>
                <c:pt idx="54">
                  <c:v>0.202828211136761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utz</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494688922610015"/>
          <c:min val="0.0646266829865361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26.669</c:v>
                </c:pt>
                <c:pt idx="1">
                  <c:v>27.3016</c:v>
                </c:pt>
                <c:pt idx="2">
                  <c:v>27.4781</c:v>
                </c:pt>
                <c:pt idx="3">
                  <c:v>26.5061</c:v>
                </c:pt>
                <c:pt idx="4">
                  <c:v>27.5394</c:v>
                </c:pt>
                <c:pt idx="5">
                  <c:v>27.9003</c:v>
                </c:pt>
                <c:pt idx="6">
                  <c:v>28.1506</c:v>
                </c:pt>
                <c:pt idx="7">
                  <c:v>27.8831</c:v>
                </c:pt>
                <c:pt idx="8">
                  <c:v>27.6785</c:v>
                </c:pt>
                <c:pt idx="9">
                  <c:v>27.3433</c:v>
                </c:pt>
                <c:pt idx="10">
                  <c:v>27.9716</c:v>
                </c:pt>
                <c:pt idx="11">
                  <c:v>27.7571</c:v>
                </c:pt>
                <c:pt idx="12">
                  <c:v>27.6471</c:v>
                </c:pt>
                <c:pt idx="13">
                  <c:v>27.9095</c:v>
                </c:pt>
                <c:pt idx="14">
                  <c:v>27.5888</c:v>
                </c:pt>
                <c:pt idx="15">
                  <c:v>27.6901</c:v>
                </c:pt>
                <c:pt idx="16">
                  <c:v>27.7052</c:v>
                </c:pt>
                <c:pt idx="17">
                  <c:v>27.7055</c:v>
                </c:pt>
                <c:pt idx="18">
                  <c:v>27.5274</c:v>
                </c:pt>
                <c:pt idx="19">
                  <c:v>27.6155</c:v>
                </c:pt>
                <c:pt idx="20">
                  <c:v>27.3032</c:v>
                </c:pt>
                <c:pt idx="21">
                  <c:v>27.2911</c:v>
                </c:pt>
                <c:pt idx="22">
                  <c:v>27.4429</c:v>
                </c:pt>
                <c:pt idx="23">
                  <c:v>27.598</c:v>
                </c:pt>
                <c:pt idx="24">
                  <c:v>27.5576</c:v>
                </c:pt>
                <c:pt idx="25">
                  <c:v>27.5381</c:v>
                </c:pt>
                <c:pt idx="26">
                  <c:v>27.4991</c:v>
                </c:pt>
                <c:pt idx="27">
                  <c:v>27.5491</c:v>
                </c:pt>
                <c:pt idx="28">
                  <c:v>27.7642</c:v>
                </c:pt>
                <c:pt idx="29">
                  <c:v>27.7328</c:v>
                </c:pt>
                <c:pt idx="30">
                  <c:v>27.7168</c:v>
                </c:pt>
                <c:pt idx="31">
                  <c:v>27.9662</c:v>
                </c:pt>
                <c:pt idx="32">
                  <c:v>27.7814</c:v>
                </c:pt>
                <c:pt idx="33">
                  <c:v>27.7192</c:v>
                </c:pt>
                <c:pt idx="34">
                  <c:v>27.5848</c:v>
                </c:pt>
                <c:pt idx="35">
                  <c:v>27.2551</c:v>
                </c:pt>
                <c:pt idx="36">
                  <c:v>27.1326</c:v>
                </c:pt>
                <c:pt idx="37">
                  <c:v>27.4098</c:v>
                </c:pt>
                <c:pt idx="38">
                  <c:v>27.4566</c:v>
                </c:pt>
                <c:pt idx="39">
                  <c:v>27.8096</c:v>
                </c:pt>
                <c:pt idx="40">
                  <c:v>28.0019</c:v>
                </c:pt>
                <c:pt idx="41">
                  <c:v>28.6129</c:v>
                </c:pt>
                <c:pt idx="42">
                  <c:v>28.2153</c:v>
                </c:pt>
                <c:pt idx="43">
                  <c:v>28.1025</c:v>
                </c:pt>
                <c:pt idx="44">
                  <c:v>28.699</c:v>
                </c:pt>
                <c:pt idx="45">
                  <c:v>27.9294</c:v>
                </c:pt>
                <c:pt idx="46">
                  <c:v>27.7777</c:v>
                </c:pt>
                <c:pt idx="47">
                  <c:v>27.4988</c:v>
                </c:pt>
                <c:pt idx="48">
                  <c:v>27.8626</c:v>
                </c:pt>
                <c:pt idx="49">
                  <c:v>28.0724</c:v>
                </c:pt>
                <c:pt idx="50">
                  <c:v>28.4326</c:v>
                </c:pt>
                <c:pt idx="51">
                  <c:v>28.5996</c:v>
                </c:pt>
                <c:pt idx="52">
                  <c:v>30.7365</c:v>
                </c:pt>
                <c:pt idx="53">
                  <c:v>29.9517</c:v>
                </c:pt>
                <c:pt idx="54">
                  <c:v>30.0571</c:v>
                </c:pt>
                <c:pt idx="55">
                  <c:v>30.0405</c:v>
                </c:pt>
                <c:pt idx="56">
                  <c:v>30.2129</c:v>
                </c:pt>
                <c:pt idx="57">
                  <c:v>29.9961</c:v>
                </c:pt>
                <c:pt idx="58">
                  <c:v>30.1864</c:v>
                </c:pt>
                <c:pt idx="59">
                  <c:v>30.0705</c:v>
                </c:pt>
                <c:pt idx="60">
                  <c:v>30.0533</c:v>
                </c:pt>
                <c:pt idx="61">
                  <c:v>29.8748</c:v>
                </c:pt>
                <c:pt idx="62">
                  <c:v>30.0564</c:v>
                </c:pt>
                <c:pt idx="63">
                  <c:v>30.041</c:v>
                </c:pt>
                <c:pt idx="64">
                  <c:v>29.9506</c:v>
                </c:pt>
                <c:pt idx="65">
                  <c:v>29.8026</c:v>
                </c:pt>
                <c:pt idx="66">
                  <c:v>30.0387</c:v>
                </c:pt>
                <c:pt idx="67">
                  <c:v>31.2105</c:v>
                </c:pt>
                <c:pt idx="68">
                  <c:v>31.4599</c:v>
                </c:pt>
                <c:pt idx="69">
                  <c:v>31.4775</c:v>
                </c:pt>
                <c:pt idx="70">
                  <c:v>31.2404</c:v>
                </c:pt>
                <c:pt idx="71">
                  <c:v>30.2369</c:v>
                </c:pt>
                <c:pt idx="72">
                  <c:v>29.9885</c:v>
                </c:pt>
                <c:pt idx="73">
                  <c:v>29.7984</c:v>
                </c:pt>
                <c:pt idx="74">
                  <c:v>30.3406</c:v>
                </c:pt>
                <c:pt idx="75">
                  <c:v>27.1052</c:v>
                </c:pt>
                <c:pt idx="76">
                  <c:v>27.8618</c:v>
                </c:pt>
                <c:pt idx="77">
                  <c:v>27.7784</c:v>
                </c:pt>
              </c:numCache>
            </c:numRef>
          </c:xVal>
          <c:yVal>
            <c:numRef>
              <c:f>Sheet1!$B$2:$B$79</c:f>
              <c:numCache>
                <c:formatCode>General</c:formatCode>
                <c:ptCount val="78"/>
                <c:pt idx="0">
                  <c:v>0.10522405386579986</c:v>
                </c:pt>
                <c:pt idx="1">
                  <c:v>0.10422163588390501</c:v>
                </c:pt>
                <c:pt idx="2">
                  <c:v>0.10024154589371981</c:v>
                </c:pt>
                <c:pt idx="3">
                  <c:v>0.13091762914075392</c:v>
                </c:pt>
                <c:pt idx="4">
                  <c:v>0.14597649476591099</c:v>
                </c:pt>
                <c:pt idx="5">
                  <c:v>0.1595194953358835</c:v>
                </c:pt>
                <c:pt idx="6">
                  <c:v>0.17226837060702876</c:v>
                </c:pt>
                <c:pt idx="7">
                  <c:v>0.17950481430536452</c:v>
                </c:pt>
                <c:pt idx="8">
                  <c:v>0.19224283305227655</c:v>
                </c:pt>
                <c:pt idx="9">
                  <c:v>0.21484284500733647</c:v>
                </c:pt>
                <c:pt idx="10">
                  <c:v>0.20443012484897302</c:v>
                </c:pt>
                <c:pt idx="11">
                  <c:v>0.1902278562259307</c:v>
                </c:pt>
                <c:pt idx="12">
                  <c:v>0.14393205267058085</c:v>
                </c:pt>
                <c:pt idx="13">
                  <c:v>0.2272395681353954</c:v>
                </c:pt>
                <c:pt idx="14">
                  <c:v>0.24941005627155563</c:v>
                </c:pt>
                <c:pt idx="15">
                  <c:v>0.22428875403893136</c:v>
                </c:pt>
                <c:pt idx="16">
                  <c:v>0.22183972460171322</c:v>
                </c:pt>
                <c:pt idx="17">
                  <c:v>0.23318862408080093</c:v>
                </c:pt>
                <c:pt idx="18">
                  <c:v>0.23935842072794572</c:v>
                </c:pt>
                <c:pt idx="19">
                  <c:v>0.19024202842873608</c:v>
                </c:pt>
                <c:pt idx="20">
                  <c:v>0.18978151260504203</c:v>
                </c:pt>
                <c:pt idx="21">
                  <c:v>0.11671136939353301</c:v>
                </c:pt>
                <c:pt idx="22">
                  <c:v>0.19335486848177202</c:v>
                </c:pt>
                <c:pt idx="23">
                  <c:v>0.21523024785700046</c:v>
                </c:pt>
                <c:pt idx="24">
                  <c:v>0.21429542981501631</c:v>
                </c:pt>
                <c:pt idx="25">
                  <c:v>0.23569964598472146</c:v>
                </c:pt>
                <c:pt idx="26">
                  <c:v>0.15114590894949703</c:v>
                </c:pt>
                <c:pt idx="27">
                  <c:v>0.18450797872340424</c:v>
                </c:pt>
                <c:pt idx="28">
                  <c:v>0.1837733729235214</c:v>
                </c:pt>
                <c:pt idx="29">
                  <c:v>0.18890491135804563</c:v>
                </c:pt>
                <c:pt idx="30">
                  <c:v>0.19574648185377208</c:v>
                </c:pt>
                <c:pt idx="31">
                  <c:v>0.1922050806170978</c:v>
                </c:pt>
                <c:pt idx="32">
                  <c:v>0.19740293809024134</c:v>
                </c:pt>
                <c:pt idx="33">
                  <c:v>0.20384572635322887</c:v>
                </c:pt>
                <c:pt idx="34">
                  <c:v>0.19657195799876467</c:v>
                </c:pt>
                <c:pt idx="35">
                  <c:v>0.1897182189718219</c:v>
                </c:pt>
                <c:pt idx="36">
                  <c:v>0.13784725889933452</c:v>
                </c:pt>
                <c:pt idx="37">
                  <c:v>0.19597399003873825</c:v>
                </c:pt>
                <c:pt idx="38">
                  <c:v>0.20120196918355604</c:v>
                </c:pt>
                <c:pt idx="39">
                  <c:v>0.14256542533182867</c:v>
                </c:pt>
                <c:pt idx="40">
                  <c:v>0.23336035969632196</c:v>
                </c:pt>
                <c:pt idx="41">
                  <c:v>0.22011235066065354</c:v>
                </c:pt>
                <c:pt idx="42">
                  <c:v>0.21560114837896505</c:v>
                </c:pt>
                <c:pt idx="43">
                  <c:v>0.25123436471362737</c:v>
                </c:pt>
                <c:pt idx="44">
                  <c:v>0.22930903568716782</c:v>
                </c:pt>
                <c:pt idx="45">
                  <c:v>0.1651750590086546</c:v>
                </c:pt>
                <c:pt idx="46">
                  <c:v>0.10684922843410068</c:v>
                </c:pt>
                <c:pt idx="47">
                  <c:v>0.129260350441929</c:v>
                </c:pt>
                <c:pt idx="48">
                  <c:v>0.12908137371003214</c:v>
                </c:pt>
                <c:pt idx="49">
                  <c:v>0.11135238249857943</c:v>
                </c:pt>
                <c:pt idx="50">
                  <c:v>0.10484079426624368</c:v>
                </c:pt>
                <c:pt idx="51">
                  <c:v>0.11739222519591043</c:v>
                </c:pt>
                <c:pt idx="52">
                  <c:v>0.12168850663312913</c:v>
                </c:pt>
                <c:pt idx="53">
                  <c:v>0.15313395057616733</c:v>
                </c:pt>
                <c:pt idx="54">
                  <c:v>0.15223902950426837</c:v>
                </c:pt>
                <c:pt idx="55">
                  <c:v>0.17558373279727849</c:v>
                </c:pt>
                <c:pt idx="56">
                  <c:v>0.17787311277947365</c:v>
                </c:pt>
                <c:pt idx="57">
                  <c:v>0.2275746037368281</c:v>
                </c:pt>
                <c:pt idx="58">
                  <c:v>0.24183006535947713</c:v>
                </c:pt>
                <c:pt idx="59">
                  <c:v>0.24980246077435375</c:v>
                </c:pt>
                <c:pt idx="60">
                  <c:v>0.20862698480088307</c:v>
                </c:pt>
                <c:pt idx="61">
                  <c:v>0.21428571428571427</c:v>
                </c:pt>
                <c:pt idx="62">
                  <c:v>0.21264465622872702</c:v>
                </c:pt>
                <c:pt idx="63">
                  <c:v>0.2144354095062453</c:v>
                </c:pt>
                <c:pt idx="64">
                  <c:v>0.1580602883355177</c:v>
                </c:pt>
                <c:pt idx="65">
                  <c:v>0.2616792249730893</c:v>
                </c:pt>
                <c:pt idx="66">
                  <c:v>0.27425054143394506</c:v>
                </c:pt>
                <c:pt idx="67">
                  <c:v>0.2508115333206034</c:v>
                </c:pt>
                <c:pt idx="68">
                  <c:v>0.2215274303818576</c:v>
                </c:pt>
                <c:pt idx="69">
                  <c:v>0.23396981572584008</c:v>
                </c:pt>
                <c:pt idx="70">
                  <c:v>0.24932523616734142</c:v>
                </c:pt>
                <c:pt idx="71">
                  <c:v>0.15936919033271363</c:v>
                </c:pt>
                <c:pt idx="72">
                  <c:v>0.14279672217816547</c:v>
                </c:pt>
                <c:pt idx="73">
                  <c:v>0.15606221279604102</c:v>
                </c:pt>
                <c:pt idx="74">
                  <c:v>0.18994335268200574</c:v>
                </c:pt>
                <c:pt idx="75">
                  <c:v>0.3791549663684451</c:v>
                </c:pt>
                <c:pt idx="76">
                  <c:v>0.3060189099853947</c:v>
                </c:pt>
                <c:pt idx="77">
                  <c:v>0.2721287490855889</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27.9067</c:v>
                </c:pt>
                <c:pt idx="1">
                  <c:v>28.0975</c:v>
                </c:pt>
                <c:pt idx="2">
                  <c:v>27.8406</c:v>
                </c:pt>
                <c:pt idx="3">
                  <c:v>28.1669</c:v>
                </c:pt>
                <c:pt idx="4">
                  <c:v>28.1538</c:v>
                </c:pt>
                <c:pt idx="5">
                  <c:v>28.1464</c:v>
                </c:pt>
                <c:pt idx="6">
                  <c:v>27.6871</c:v>
                </c:pt>
                <c:pt idx="7">
                  <c:v>27.9664</c:v>
                </c:pt>
                <c:pt idx="8">
                  <c:v>27.9661</c:v>
                </c:pt>
                <c:pt idx="9">
                  <c:v>29.8967</c:v>
                </c:pt>
                <c:pt idx="10">
                  <c:v>29.9035</c:v>
                </c:pt>
                <c:pt idx="11">
                  <c:v>29.9924</c:v>
                </c:pt>
                <c:pt idx="12">
                  <c:v>29.8674</c:v>
                </c:pt>
                <c:pt idx="13">
                  <c:v>29.8987</c:v>
                </c:pt>
                <c:pt idx="14">
                  <c:v>27.6136</c:v>
                </c:pt>
                <c:pt idx="15">
                  <c:v>27.4675</c:v>
                </c:pt>
                <c:pt idx="16">
                  <c:v>27.4638</c:v>
                </c:pt>
                <c:pt idx="17">
                  <c:v>27.4293</c:v>
                </c:pt>
                <c:pt idx="18">
                  <c:v>29.0646</c:v>
                </c:pt>
                <c:pt idx="19">
                  <c:v>30.2116</c:v>
                </c:pt>
                <c:pt idx="20">
                  <c:v>29.9466</c:v>
                </c:pt>
                <c:pt idx="21">
                  <c:v>32.036</c:v>
                </c:pt>
                <c:pt idx="22">
                  <c:v>30.1503</c:v>
                </c:pt>
                <c:pt idx="23">
                  <c:v>30.1066</c:v>
                </c:pt>
                <c:pt idx="24">
                  <c:v>30.2368</c:v>
                </c:pt>
                <c:pt idx="25">
                  <c:v>30.6523</c:v>
                </c:pt>
                <c:pt idx="26">
                  <c:v>30.3247</c:v>
                </c:pt>
                <c:pt idx="27">
                  <c:v>30.4024</c:v>
                </c:pt>
                <c:pt idx="28">
                  <c:v>30.4701</c:v>
                </c:pt>
                <c:pt idx="29">
                  <c:v>30.279</c:v>
                </c:pt>
                <c:pt idx="30">
                  <c:v>30.3002</c:v>
                </c:pt>
                <c:pt idx="31">
                  <c:v>30.2662</c:v>
                </c:pt>
                <c:pt idx="32">
                  <c:v>30.4732</c:v>
                </c:pt>
                <c:pt idx="33">
                  <c:v>30.1477</c:v>
                </c:pt>
                <c:pt idx="34">
                  <c:v>30.0013</c:v>
                </c:pt>
                <c:pt idx="35">
                  <c:v>30.121</c:v>
                </c:pt>
                <c:pt idx="36">
                  <c:v>30.0391</c:v>
                </c:pt>
                <c:pt idx="37">
                  <c:v>30.146</c:v>
                </c:pt>
                <c:pt idx="38">
                  <c:v>30.3407</c:v>
                </c:pt>
                <c:pt idx="39">
                  <c:v>30.1747</c:v>
                </c:pt>
                <c:pt idx="40">
                  <c:v>30.0763</c:v>
                </c:pt>
                <c:pt idx="41">
                  <c:v>30.492</c:v>
                </c:pt>
                <c:pt idx="42">
                  <c:v>28.3702</c:v>
                </c:pt>
                <c:pt idx="43">
                  <c:v>28.2662</c:v>
                </c:pt>
                <c:pt idx="44">
                  <c:v>27.9568</c:v>
                </c:pt>
                <c:pt idx="45">
                  <c:v>27.9722</c:v>
                </c:pt>
                <c:pt idx="46">
                  <c:v>29.473</c:v>
                </c:pt>
                <c:pt idx="47">
                  <c:v>30.4883</c:v>
                </c:pt>
                <c:pt idx="48">
                  <c:v>30.378</c:v>
                </c:pt>
                <c:pt idx="49">
                  <c:v>30.3317</c:v>
                </c:pt>
                <c:pt idx="50">
                  <c:v>30.1448</c:v>
                </c:pt>
                <c:pt idx="51">
                  <c:v>30.2122</c:v>
                </c:pt>
              </c:numCache>
            </c:numRef>
          </c:xVal>
          <c:yVal>
            <c:numRef>
              <c:f>Sheet1!$B$82:$B$133</c:f>
              <c:numCache>
                <c:formatCode>General</c:formatCode>
                <c:ptCount val="52"/>
                <c:pt idx="0">
                  <c:v>0.22054416172063232</c:v>
                </c:pt>
                <c:pt idx="1">
                  <c:v>0.2299869019184837</c:v>
                </c:pt>
                <c:pt idx="2">
                  <c:v>0.2423264817033828</c:v>
                </c:pt>
                <c:pt idx="3">
                  <c:v>0.24411331861662988</c:v>
                </c:pt>
                <c:pt idx="4">
                  <c:v>0.21309319032682383</c:v>
                </c:pt>
                <c:pt idx="5">
                  <c:v>0.24331870761866772</c:v>
                </c:pt>
                <c:pt idx="6">
                  <c:v>0.2470384281999422</c:v>
                </c:pt>
                <c:pt idx="7">
                  <c:v>0.26767063395676466</c:v>
                </c:pt>
                <c:pt idx="8">
                  <c:v>0.27486935866983375</c:v>
                </c:pt>
                <c:pt idx="9">
                  <c:v>0.18475177304964538</c:v>
                </c:pt>
                <c:pt idx="10">
                  <c:v>0.16512374834687324</c:v>
                </c:pt>
                <c:pt idx="11">
                  <c:v>0.19516189058429476</c:v>
                </c:pt>
                <c:pt idx="12">
                  <c:v>0.18472506529258134</c:v>
                </c:pt>
                <c:pt idx="13">
                  <c:v>0.145950423001834</c:v>
                </c:pt>
                <c:pt idx="14">
                  <c:v>0.1816568386099502</c:v>
                </c:pt>
                <c:pt idx="15">
                  <c:v>0.24011094234960048</c:v>
                </c:pt>
                <c:pt idx="16">
                  <c:v>0.25625653537818055</c:v>
                </c:pt>
                <c:pt idx="17">
                  <c:v>0.25042611773960927</c:v>
                </c:pt>
                <c:pt idx="18">
                  <c:v>0.2734648972014027</c:v>
                </c:pt>
                <c:pt idx="19">
                  <c:v>0.2675431108075807</c:v>
                </c:pt>
                <c:pt idx="20">
                  <c:v>0.17366666666666666</c:v>
                </c:pt>
                <c:pt idx="21">
                  <c:v>0.2138279345175897</c:v>
                </c:pt>
                <c:pt idx="22">
                  <c:v>0.13471553183179275</c:v>
                </c:pt>
                <c:pt idx="23">
                  <c:v>0.11274746499275712</c:v>
                </c:pt>
                <c:pt idx="24">
                  <c:v>0.11372148450800136</c:v>
                </c:pt>
                <c:pt idx="25">
                  <c:v>0.10955436168979245</c:v>
                </c:pt>
                <c:pt idx="26">
                  <c:v>0.14610227159011308</c:v>
                </c:pt>
                <c:pt idx="27">
                  <c:v>0.19410986562695814</c:v>
                </c:pt>
                <c:pt idx="28">
                  <c:v>0.2652447618152777</c:v>
                </c:pt>
                <c:pt idx="29">
                  <c:v>0.2878772378516624</c:v>
                </c:pt>
                <c:pt idx="30">
                  <c:v>0.29032934759807005</c:v>
                </c:pt>
                <c:pt idx="31">
                  <c:v>0.23104461171286947</c:v>
                </c:pt>
                <c:pt idx="32">
                  <c:v>0.14737299714321203</c:v>
                </c:pt>
                <c:pt idx="33">
                  <c:v>0.24292337725719865</c:v>
                </c:pt>
                <c:pt idx="34">
                  <c:v>0.24787457215413491</c:v>
                </c:pt>
                <c:pt idx="35">
                  <c:v>0.18291873963515753</c:v>
                </c:pt>
                <c:pt idx="36">
                  <c:v>0.18772136953955135</c:v>
                </c:pt>
                <c:pt idx="37">
                  <c:v>0.1847914963205233</c:v>
                </c:pt>
                <c:pt idx="38">
                  <c:v>0.17642184557438795</c:v>
                </c:pt>
                <c:pt idx="39">
                  <c:v>0.2385684136475554</c:v>
                </c:pt>
                <c:pt idx="40">
                  <c:v>0.24551558272371982</c:v>
                </c:pt>
                <c:pt idx="41">
                  <c:v>0.20328020328020327</c:v>
                </c:pt>
                <c:pt idx="42">
                  <c:v>0.29375650364203953</c:v>
                </c:pt>
                <c:pt idx="43">
                  <c:v>0.30129772428060936</c:v>
                </c:pt>
                <c:pt idx="44">
                  <c:v>0.3085829810696563</c:v>
                </c:pt>
                <c:pt idx="45">
                  <c:v>0.30871949765519435</c:v>
                </c:pt>
                <c:pt idx="46">
                  <c:v>0.19304475256453613</c:v>
                </c:pt>
                <c:pt idx="47">
                  <c:v>0.1867333763718528</c:v>
                </c:pt>
                <c:pt idx="48">
                  <c:v>0.1795324217026908</c:v>
                </c:pt>
                <c:pt idx="49">
                  <c:v>0.23046121904196945</c:v>
                </c:pt>
                <c:pt idx="50">
                  <c:v>0.25018909152029584</c:v>
                </c:pt>
                <c:pt idx="51">
                  <c:v>0.22538467671211035</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28.22769780135206</c:v>
                </c:pt>
              </c:numCache>
            </c:numRef>
          </c:xVal>
          <c:yVal>
            <c:numRef>
              <c:f>Sheet1!$B$136:$B$137</c:f>
              <c:numCache>
                <c:formatCode>General</c:formatCode>
                <c:ptCount val="2"/>
                <c:pt idx="0">
                  <c:v>0.24346664955480257</c:v>
                </c:pt>
                <c:pt idx="1">
                  <c:v>0.24346664955480257</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28.22769780135206</c:v>
                </c:pt>
                <c:pt idx="1">
                  <c:v>28.22769780135206</c:v>
                </c:pt>
              </c:numCache>
            </c:numRef>
          </c:xVal>
          <c:yVal>
            <c:numRef>
              <c:f>Sheet1!$B$140:$B$141</c:f>
              <c:numCache>
                <c:formatCode>General</c:formatCode>
                <c:ptCount val="2"/>
                <c:pt idx="0">
                  <c:v>0.243466649554802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28.22769780135206</c:v>
                </c:pt>
              </c:numCache>
            </c:numRef>
          </c:xVal>
          <c:yVal>
            <c:numRef>
              <c:f>Sheet1!$B$144:$B$145</c:f>
              <c:numCache>
                <c:formatCode>General</c:formatCode>
                <c:ptCount val="2"/>
                <c:pt idx="0">
                  <c:v>0.24346664955480257</c:v>
                </c:pt>
                <c:pt idx="1">
                  <c:v>0.24346664955480257</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28.22769780135206</c:v>
                </c:pt>
                <c:pt idx="1">
                  <c:v>28.22769780135206</c:v>
                </c:pt>
              </c:numCache>
            </c:numRef>
          </c:xVal>
          <c:yVal>
            <c:numRef>
              <c:f>Sheet1!$B$148:$B$149</c:f>
              <c:numCache>
                <c:formatCode>General</c:formatCode>
                <c:ptCount val="2"/>
                <c:pt idx="0">
                  <c:v>0.243466649554802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28.22769780135206</c:v>
                </c:pt>
              </c:numCache>
            </c:numRef>
          </c:xVal>
          <c:yVal>
            <c:numRef>
              <c:f>Sheet1!$B$152:$B$153</c:f>
              <c:numCache>
                <c:formatCode>General</c:formatCode>
                <c:ptCount val="2"/>
                <c:pt idx="0">
                  <c:v>0.24346664955480257</c:v>
                </c:pt>
                <c:pt idx="1">
                  <c:v>0.24346664955480257</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28.22769780135206</c:v>
                </c:pt>
                <c:pt idx="1">
                  <c:v>28.22769780135206</c:v>
                </c:pt>
              </c:numCache>
            </c:numRef>
          </c:xVal>
          <c:yVal>
            <c:numRef>
              <c:f>Sheet1!$B$156:$B$157</c:f>
              <c:numCache>
                <c:formatCode>General</c:formatCode>
                <c:ptCount val="2"/>
                <c:pt idx="0">
                  <c:v>0.2434666495548025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27.9067</c:v>
                </c:pt>
                <c:pt idx="1">
                  <c:v>28.0975</c:v>
                </c:pt>
                <c:pt idx="2">
                  <c:v>27.8406</c:v>
                </c:pt>
                <c:pt idx="3">
                  <c:v>28.1669</c:v>
                </c:pt>
                <c:pt idx="4">
                  <c:v>28.1538</c:v>
                </c:pt>
                <c:pt idx="5">
                  <c:v>28.1464</c:v>
                </c:pt>
                <c:pt idx="6">
                  <c:v>27.6871</c:v>
                </c:pt>
                <c:pt idx="7">
                  <c:v>27.9664</c:v>
                </c:pt>
                <c:pt idx="8">
                  <c:v>27.9661</c:v>
                </c:pt>
                <c:pt idx="9">
                  <c:v>29.8967</c:v>
                </c:pt>
                <c:pt idx="10">
                  <c:v>29.9035</c:v>
                </c:pt>
                <c:pt idx="11">
                  <c:v>29.9924</c:v>
                </c:pt>
                <c:pt idx="12">
                  <c:v>29.8674</c:v>
                </c:pt>
                <c:pt idx="13">
                  <c:v>29.8987</c:v>
                </c:pt>
                <c:pt idx="14">
                  <c:v>27.6136</c:v>
                </c:pt>
                <c:pt idx="15">
                  <c:v>27.4675</c:v>
                </c:pt>
                <c:pt idx="16">
                  <c:v>27.4638</c:v>
                </c:pt>
                <c:pt idx="17">
                  <c:v>27.4293</c:v>
                </c:pt>
                <c:pt idx="18">
                  <c:v>29.0646</c:v>
                </c:pt>
                <c:pt idx="19">
                  <c:v>30.2116</c:v>
                </c:pt>
                <c:pt idx="20">
                  <c:v>29.9466</c:v>
                </c:pt>
                <c:pt idx="21">
                  <c:v>32.036</c:v>
                </c:pt>
                <c:pt idx="22">
                  <c:v>30.1503</c:v>
                </c:pt>
                <c:pt idx="23">
                  <c:v>30.1066</c:v>
                </c:pt>
                <c:pt idx="24">
                  <c:v>30.2368</c:v>
                </c:pt>
                <c:pt idx="25">
                  <c:v>30.6523</c:v>
                </c:pt>
                <c:pt idx="26">
                  <c:v>30.3247</c:v>
                </c:pt>
                <c:pt idx="27">
                  <c:v>30.4024</c:v>
                </c:pt>
                <c:pt idx="28">
                  <c:v>30.4701</c:v>
                </c:pt>
                <c:pt idx="29">
                  <c:v>30.279</c:v>
                </c:pt>
                <c:pt idx="30">
                  <c:v>30.3002</c:v>
                </c:pt>
                <c:pt idx="31">
                  <c:v>30.2662</c:v>
                </c:pt>
                <c:pt idx="32">
                  <c:v>30.4732</c:v>
                </c:pt>
                <c:pt idx="33">
                  <c:v>30.1477</c:v>
                </c:pt>
                <c:pt idx="34">
                  <c:v>30.0013</c:v>
                </c:pt>
                <c:pt idx="35">
                  <c:v>30.121</c:v>
                </c:pt>
                <c:pt idx="36">
                  <c:v>30.0391</c:v>
                </c:pt>
                <c:pt idx="37">
                  <c:v>30.146</c:v>
                </c:pt>
                <c:pt idx="38">
                  <c:v>30.3407</c:v>
                </c:pt>
                <c:pt idx="39">
                  <c:v>30.1747</c:v>
                </c:pt>
                <c:pt idx="40">
                  <c:v>30.0763</c:v>
                </c:pt>
                <c:pt idx="41">
                  <c:v>30.492</c:v>
                </c:pt>
                <c:pt idx="42">
                  <c:v>28.3702</c:v>
                </c:pt>
                <c:pt idx="43">
                  <c:v>28.2662</c:v>
                </c:pt>
                <c:pt idx="44">
                  <c:v>27.9568</c:v>
                </c:pt>
                <c:pt idx="45">
                  <c:v>27.9722</c:v>
                </c:pt>
                <c:pt idx="46">
                  <c:v>29.473</c:v>
                </c:pt>
                <c:pt idx="47">
                  <c:v>30.4883</c:v>
                </c:pt>
                <c:pt idx="48">
                  <c:v>30.378</c:v>
                </c:pt>
                <c:pt idx="49">
                  <c:v>30.3317</c:v>
                </c:pt>
                <c:pt idx="50">
                  <c:v>30.1448</c:v>
                </c:pt>
                <c:pt idx="51">
                  <c:v>30.2122</c:v>
                </c:pt>
                <c:pt idx="52">
                  <c:v>28.22769780135206</c:v>
                </c:pt>
                <c:pt idx="53">
                  <c:v>28.22769780135206</c:v>
                </c:pt>
                <c:pt idx="54">
                  <c:v>28.22769780135206</c:v>
                </c:pt>
              </c:numCache>
            </c:numRef>
          </c:xVal>
          <c:yVal>
            <c:numRef>
              <c:f>Sheet1!$B$160:$B$214</c:f>
              <c:numCache>
                <c:formatCode>General</c:formatCode>
                <c:ptCount val="55"/>
                <c:pt idx="0">
                  <c:v>0.2501414935286055</c:v>
                </c:pt>
                <c:pt idx="1">
                  <c:v>0.24617398900104404</c:v>
                </c:pt>
                <c:pt idx="2">
                  <c:v>0.2515159801600092</c:v>
                </c:pt>
                <c:pt idx="3">
                  <c:v>0.2447308820083146</c:v>
                </c:pt>
                <c:pt idx="4">
                  <c:v>0.24500328404872895</c:v>
                </c:pt>
                <c:pt idx="5">
                  <c:v>0.2451571600104897</c:v>
                </c:pt>
                <c:pt idx="6">
                  <c:v>0.25470786666410083</c:v>
                </c:pt>
                <c:pt idx="7">
                  <c:v>0.24890008881007608</c:v>
                </c:pt>
                <c:pt idx="8">
                  <c:v>0.24890632702474202</c:v>
                </c:pt>
                <c:pt idx="9">
                  <c:v>0.20876133624428983</c:v>
                </c:pt>
                <c:pt idx="10">
                  <c:v>0.20861993671186096</c:v>
                </c:pt>
                <c:pt idx="11">
                  <c:v>0.2067713457658431</c:v>
                </c:pt>
                <c:pt idx="12">
                  <c:v>0.2093706018766669</c:v>
                </c:pt>
                <c:pt idx="13">
                  <c:v>0.20871974814651661</c:v>
                </c:pt>
                <c:pt idx="14">
                  <c:v>0.2562362292572652</c:v>
                </c:pt>
                <c:pt idx="15">
                  <c:v>0.2592742397995962</c:v>
                </c:pt>
                <c:pt idx="16">
                  <c:v>0.25935117778047656</c:v>
                </c:pt>
                <c:pt idx="17">
                  <c:v>0.26006857246706394</c:v>
                </c:pt>
                <c:pt idx="18">
                  <c:v>0.226064064322822</c:v>
                </c:pt>
                <c:pt idx="19">
                  <c:v>0.20221329024990242</c:v>
                </c:pt>
                <c:pt idx="20">
                  <c:v>0.20772371320484895</c:v>
                </c:pt>
                <c:pt idx="21">
                  <c:v>0.16427662746120608</c:v>
                </c:pt>
                <c:pt idx="22">
                  <c:v>0.20348796544665038</c:v>
                </c:pt>
                <c:pt idx="23">
                  <c:v>0.2043966653829944</c:v>
                </c:pt>
                <c:pt idx="24">
                  <c:v>0.2016892802179603</c:v>
                </c:pt>
                <c:pt idx="25">
                  <c:v>0.19304935290558178</c:v>
                </c:pt>
                <c:pt idx="26">
                  <c:v>0.19986148332082898</c:v>
                </c:pt>
                <c:pt idx="27">
                  <c:v>0.19824578572234086</c:v>
                </c:pt>
                <c:pt idx="28">
                  <c:v>0.1968380286127187</c:v>
                </c:pt>
                <c:pt idx="29">
                  <c:v>0.2008117713549462</c:v>
                </c:pt>
                <c:pt idx="30">
                  <c:v>0.2003709375185504</c:v>
                </c:pt>
                <c:pt idx="31">
                  <c:v>0.2010779351806945</c:v>
                </c:pt>
                <c:pt idx="32">
                  <c:v>0.19677356706117022</c:v>
                </c:pt>
                <c:pt idx="33">
                  <c:v>0.20354202997375548</c:v>
                </c:pt>
                <c:pt idx="34">
                  <c:v>0.20658627873075242</c:v>
                </c:pt>
                <c:pt idx="35">
                  <c:v>0.20409723107902755</c:v>
                </c:pt>
                <c:pt idx="36">
                  <c:v>0.2058002636828392</c:v>
                </c:pt>
                <c:pt idx="37">
                  <c:v>0.20357737985686275</c:v>
                </c:pt>
                <c:pt idx="38">
                  <c:v>0.1995287785386436</c:v>
                </c:pt>
                <c:pt idx="39">
                  <c:v>0.20298059065381757</c:v>
                </c:pt>
                <c:pt idx="40">
                  <c:v>0.20502672506425812</c:v>
                </c:pt>
                <c:pt idx="41">
                  <c:v>0.19638263894210228</c:v>
                </c:pt>
                <c:pt idx="42">
                  <c:v>0.2405034518696707</c:v>
                </c:pt>
                <c:pt idx="43">
                  <c:v>0.24266603295387612</c:v>
                </c:pt>
                <c:pt idx="44">
                  <c:v>0.24909971167938727</c:v>
                </c:pt>
                <c:pt idx="45">
                  <c:v>0.24877948332653377</c:v>
                </c:pt>
                <c:pt idx="46">
                  <c:v>0.21757177475753842</c:v>
                </c:pt>
                <c:pt idx="47">
                  <c:v>0.19645957692298277</c:v>
                </c:pt>
                <c:pt idx="48">
                  <c:v>0.19875316051517367</c:v>
                </c:pt>
                <c:pt idx="49">
                  <c:v>0.19971592497862278</c:v>
                </c:pt>
                <c:pt idx="50">
                  <c:v>0.20360233271552663</c:v>
                </c:pt>
                <c:pt idx="51">
                  <c:v>0.20220081382057042</c:v>
                </c:pt>
                <c:pt idx="52">
                  <c:v>0.24346664955480257</c:v>
                </c:pt>
                <c:pt idx="53">
                  <c:v>0.24346664955480257</c:v>
                </c:pt>
                <c:pt idx="54">
                  <c:v>0.2434666495548025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0"/>
          <c:min val="2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498595964213406"/>
          <c:min val="0.0801932367149758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43806494345454694</c:v>
                </c:pt>
                <c:pt idx="1">
                  <c:v>0.4481197405904979</c:v>
                </c:pt>
                <c:pt idx="2">
                  <c:v>0.4548600462166475</c:v>
                </c:pt>
                <c:pt idx="3">
                  <c:v>0.43588800146523027</c:v>
                </c:pt>
                <c:pt idx="4">
                  <c:v>0.44592899762409716</c:v>
                </c:pt>
                <c:pt idx="5">
                  <c:v>0.4454914819746388</c:v>
                </c:pt>
                <c:pt idx="6">
                  <c:v>0.44329952641480874</c:v>
                </c:pt>
                <c:pt idx="7">
                  <c:v>0.44030597197753585</c:v>
                </c:pt>
                <c:pt idx="8">
                  <c:v>0.42668080300550854</c:v>
                </c:pt>
                <c:pt idx="9">
                  <c:v>0.4288272254215801</c:v>
                </c:pt>
                <c:pt idx="10">
                  <c:v>0.43663844660194173</c:v>
                </c:pt>
                <c:pt idx="11">
                  <c:v>0.42964478764478764</c:v>
                </c:pt>
                <c:pt idx="12">
                  <c:v>0.42827613559480204</c:v>
                </c:pt>
                <c:pt idx="13">
                  <c:v>0.44441735360073553</c:v>
                </c:pt>
                <c:pt idx="14">
                  <c:v>0.43243243243243246</c:v>
                </c:pt>
                <c:pt idx="15">
                  <c:v>0.4310316103833599</c:v>
                </c:pt>
                <c:pt idx="16">
                  <c:v>0.43311784021791855</c:v>
                </c:pt>
                <c:pt idx="17">
                  <c:v>0.4330399162786089</c:v>
                </c:pt>
                <c:pt idx="18">
                  <c:v>0.42754447116131394</c:v>
                </c:pt>
                <c:pt idx="19">
                  <c:v>0.45835884773662555</c:v>
                </c:pt>
                <c:pt idx="20">
                  <c:v>0.4669132709003038</c:v>
                </c:pt>
                <c:pt idx="21">
                  <c:v>0.4684100961900009</c:v>
                </c:pt>
                <c:pt idx="22">
                  <c:v>0.45974089756693265</c:v>
                </c:pt>
                <c:pt idx="23">
                  <c:v>0.42713965163918605</c:v>
                </c:pt>
                <c:pt idx="24">
                  <c:v>0.4231166959378375</c:v>
                </c:pt>
                <c:pt idx="25">
                  <c:v>0.43197346723354807</c:v>
                </c:pt>
                <c:pt idx="26">
                  <c:v>0.43108997737296734</c:v>
                </c:pt>
                <c:pt idx="27">
                  <c:v>0.42655197436240816</c:v>
                </c:pt>
                <c:pt idx="28">
                  <c:v>0.435006176604921</c:v>
                </c:pt>
                <c:pt idx="29">
                  <c:v>0.4260801927421687</c:v>
                </c:pt>
                <c:pt idx="30">
                  <c:v>0.4462256768580478</c:v>
                </c:pt>
                <c:pt idx="31">
                  <c:v>0.39292128670213144</c:v>
                </c:pt>
                <c:pt idx="32">
                  <c:v>0.4204838893351676</c:v>
                </c:pt>
                <c:pt idx="33">
                  <c:v>0.4242085344661132</c:v>
                </c:pt>
                <c:pt idx="34">
                  <c:v>0.4358702641287995</c:v>
                </c:pt>
                <c:pt idx="35">
                  <c:v>0.47848375971875623</c:v>
                </c:pt>
                <c:pt idx="36">
                  <c:v>0.484472049689441</c:v>
                </c:pt>
                <c:pt idx="37">
                  <c:v>0.4874556379665923</c:v>
                </c:pt>
                <c:pt idx="38">
                  <c:v>0.49806951887990775</c:v>
                </c:pt>
                <c:pt idx="39">
                  <c:v>0.4687775995763387</c:v>
                </c:pt>
                <c:pt idx="40">
                  <c:v>0.4333934003155463</c:v>
                </c:pt>
                <c:pt idx="41">
                  <c:v>0.46204189091948966</c:v>
                </c:pt>
                <c:pt idx="42">
                  <c:v>0.44950984522906656</c:v>
                </c:pt>
                <c:pt idx="43">
                  <c:v>0.4421768497051268</c:v>
                </c:pt>
                <c:pt idx="44">
                  <c:v>0.45433101578122964</c:v>
                </c:pt>
                <c:pt idx="45">
                  <c:v>0.46957920398093306</c:v>
                </c:pt>
                <c:pt idx="46">
                  <c:v>0.48400326449993486</c:v>
                </c:pt>
                <c:pt idx="47">
                  <c:v>0.48083807243340315</c:v>
                </c:pt>
                <c:pt idx="48">
                  <c:v>0.47997748362445414</c:v>
                </c:pt>
                <c:pt idx="49">
                  <c:v>0.4926465295938197</c:v>
                </c:pt>
                <c:pt idx="50">
                  <c:v>0.48385711729977937</c:v>
                </c:pt>
                <c:pt idx="51">
                  <c:v>0.4940778743015482</c:v>
                </c:pt>
                <c:pt idx="52">
                  <c:v>0.5190541453078169</c:v>
                </c:pt>
                <c:pt idx="53">
                  <c:v>0.45742332970321914</c:v>
                </c:pt>
                <c:pt idx="54">
                  <c:v>0.4680604308570845</c:v>
                </c:pt>
                <c:pt idx="55">
                  <c:v>0.4678070021344369</c:v>
                </c:pt>
                <c:pt idx="56">
                  <c:v>0.4642327330569359</c:v>
                </c:pt>
                <c:pt idx="57">
                  <c:v>0.46628267489345226</c:v>
                </c:pt>
                <c:pt idx="58">
                  <c:v>0.4631606661164965</c:v>
                </c:pt>
                <c:pt idx="59">
                  <c:v>0.4519518909343218</c:v>
                </c:pt>
                <c:pt idx="60">
                  <c:v>0.4575231741061947</c:v>
                </c:pt>
                <c:pt idx="61">
                  <c:v>0.4484341933817921</c:v>
                </c:pt>
                <c:pt idx="62">
                  <c:v>0.45833270859884556</c:v>
                </c:pt>
                <c:pt idx="63">
                  <c:v>0.45188157761209174</c:v>
                </c:pt>
                <c:pt idx="64">
                  <c:v>0.43523989346045333</c:v>
                </c:pt>
                <c:pt idx="65">
                  <c:v>0.4484457757771121</c:v>
                </c:pt>
                <c:pt idx="66">
                  <c:v>0.45442666530647763</c:v>
                </c:pt>
                <c:pt idx="67">
                  <c:v>0.4726487293752137</c:v>
                </c:pt>
                <c:pt idx="68">
                  <c:v>0.4664734207644753</c:v>
                </c:pt>
                <c:pt idx="69">
                  <c:v>0.4796141746144229</c:v>
                </c:pt>
                <c:pt idx="70">
                  <c:v>0.4685406784105266</c:v>
                </c:pt>
                <c:pt idx="71">
                  <c:v>0.502151943334903</c:v>
                </c:pt>
                <c:pt idx="72">
                  <c:v>0.5028480897040312</c:v>
                </c:pt>
                <c:pt idx="73">
                  <c:v>0.4980913901970871</c:v>
                </c:pt>
                <c:pt idx="74">
                  <c:v>0.46279633689795197</c:v>
                </c:pt>
                <c:pt idx="75">
                  <c:v>0.40368151065513286</c:v>
                </c:pt>
                <c:pt idx="76">
                  <c:v>0.4237144090374626</c:v>
                </c:pt>
                <c:pt idx="77">
                  <c:v>0.45138911286421074</c:v>
                </c:pt>
              </c:numCache>
            </c:numRef>
          </c:xVal>
          <c:yVal>
            <c:numRef>
              <c:f>Sheet1!$B$2:$B$79</c:f>
              <c:numCache>
                <c:formatCode>General</c:formatCode>
                <c:ptCount val="78"/>
                <c:pt idx="0">
                  <c:v>0.1288163948138854</c:v>
                </c:pt>
                <c:pt idx="1">
                  <c:v>0.08994464944649447</c:v>
                </c:pt>
                <c:pt idx="2">
                  <c:v>0.08629936616284739</c:v>
                </c:pt>
                <c:pt idx="3">
                  <c:v>0.13267429760665972</c:v>
                </c:pt>
                <c:pt idx="4">
                  <c:v>0.13670505758637957</c:v>
                </c:pt>
                <c:pt idx="5">
                  <c:v>0.1554913294797688</c:v>
                </c:pt>
                <c:pt idx="6">
                  <c:v>0.15907780979827088</c:v>
                </c:pt>
                <c:pt idx="7">
                  <c:v>0.17533333333333334</c:v>
                </c:pt>
                <c:pt idx="8">
                  <c:v>0.1788218793828892</c:v>
                </c:pt>
                <c:pt idx="9">
                  <c:v>0.19396806623299823</c:v>
                </c:pt>
                <c:pt idx="10">
                  <c:v>0.21046301864101022</c:v>
                </c:pt>
                <c:pt idx="11">
                  <c:v>0.18080939947780678</c:v>
                </c:pt>
                <c:pt idx="12">
                  <c:v>0.16540284360189572</c:v>
                </c:pt>
                <c:pt idx="13">
                  <c:v>0.21594289113622844</c:v>
                </c:pt>
                <c:pt idx="14">
                  <c:v>0.27213822894168466</c:v>
                </c:pt>
                <c:pt idx="15">
                  <c:v>0.20471464019851116</c:v>
                </c:pt>
                <c:pt idx="16">
                  <c:v>0.18238213399503722</c:v>
                </c:pt>
                <c:pt idx="17">
                  <c:v>0.24621212121212122</c:v>
                </c:pt>
                <c:pt idx="18">
                  <c:v>0.24765807962529274</c:v>
                </c:pt>
                <c:pt idx="19">
                  <c:v>0.2092326139088729</c:v>
                </c:pt>
                <c:pt idx="20">
                  <c:v>0.2108843537414966</c:v>
                </c:pt>
                <c:pt idx="21">
                  <c:v>0.17079679756004576</c:v>
                </c:pt>
                <c:pt idx="22">
                  <c:v>0.2015376166941241</c:v>
                </c:pt>
                <c:pt idx="23">
                  <c:v>0.19956140350877194</c:v>
                </c:pt>
                <c:pt idx="24">
                  <c:v>0.21561338289962825</c:v>
                </c:pt>
                <c:pt idx="25">
                  <c:v>0.2131419105466593</c:v>
                </c:pt>
                <c:pt idx="26">
                  <c:v>0.1572052401746725</c:v>
                </c:pt>
                <c:pt idx="27">
                  <c:v>0.19986120749479527</c:v>
                </c:pt>
                <c:pt idx="28">
                  <c:v>0.16002949852507375</c:v>
                </c:pt>
                <c:pt idx="29">
                  <c:v>0.22472677595628415</c:v>
                </c:pt>
                <c:pt idx="30">
                  <c:v>0.1929203539823009</c:v>
                </c:pt>
                <c:pt idx="31">
                  <c:v>0.235</c:v>
                </c:pt>
                <c:pt idx="32">
                  <c:v>0.23178807947019867</c:v>
                </c:pt>
                <c:pt idx="33">
                  <c:v>0.2313364055299539</c:v>
                </c:pt>
                <c:pt idx="34">
                  <c:v>0.21160184574818722</c:v>
                </c:pt>
                <c:pt idx="35">
                  <c:v>0.22026947861745752</c:v>
                </c:pt>
                <c:pt idx="36">
                  <c:v>0.165675057208238</c:v>
                </c:pt>
                <c:pt idx="37">
                  <c:v>0.23753501400560223</c:v>
                </c:pt>
                <c:pt idx="38">
                  <c:v>0.19756221432199086</c:v>
                </c:pt>
                <c:pt idx="39">
                  <c:v>0.1559912854030501</c:v>
                </c:pt>
                <c:pt idx="40">
                  <c:v>0.2582451773490977</c:v>
                </c:pt>
                <c:pt idx="41">
                  <c:v>0.20051085568326948</c:v>
                </c:pt>
                <c:pt idx="42">
                  <c:v>0.19775014801657786</c:v>
                </c:pt>
                <c:pt idx="43">
                  <c:v>0.24640522875816995</c:v>
                </c:pt>
                <c:pt idx="44">
                  <c:v>0.16869788325849905</c:v>
                </c:pt>
                <c:pt idx="45">
                  <c:v>0.1583173996175908</c:v>
                </c:pt>
                <c:pt idx="46">
                  <c:v>0.1258741258741259</c:v>
                </c:pt>
                <c:pt idx="47">
                  <c:v>0.11168562564632885</c:v>
                </c:pt>
                <c:pt idx="48">
                  <c:v>0.11410550458715596</c:v>
                </c:pt>
                <c:pt idx="49">
                  <c:v>0.09468616262482168</c:v>
                </c:pt>
                <c:pt idx="50">
                  <c:v>0.09833694866232827</c:v>
                </c:pt>
                <c:pt idx="51">
                  <c:v>0.10812324929971989</c:v>
                </c:pt>
                <c:pt idx="52">
                  <c:v>0.12584971523057137</c:v>
                </c:pt>
                <c:pt idx="53">
                  <c:v>0.1324538258575198</c:v>
                </c:pt>
                <c:pt idx="54">
                  <c:v>0.1465076660988075</c:v>
                </c:pt>
                <c:pt idx="55">
                  <c:v>0.17961783439490445</c:v>
                </c:pt>
                <c:pt idx="56">
                  <c:v>0.15931989924433249</c:v>
                </c:pt>
                <c:pt idx="57">
                  <c:v>0.20942028985507247</c:v>
                </c:pt>
                <c:pt idx="58">
                  <c:v>0.27064538514920194</c:v>
                </c:pt>
                <c:pt idx="59">
                  <c:v>0.2587991718426501</c:v>
                </c:pt>
                <c:pt idx="60">
                  <c:v>0.18088737201365188</c:v>
                </c:pt>
                <c:pt idx="61">
                  <c:v>0.17158931082981715</c:v>
                </c:pt>
                <c:pt idx="62">
                  <c:v>0.16358839050131926</c:v>
                </c:pt>
                <c:pt idx="63">
                  <c:v>0.1746905089408528</c:v>
                </c:pt>
                <c:pt idx="64">
                  <c:v>0.16575790621592149</c:v>
                </c:pt>
                <c:pt idx="65">
                  <c:v>0.25594149908592323</c:v>
                </c:pt>
                <c:pt idx="66">
                  <c:v>0.24379432624113476</c:v>
                </c:pt>
                <c:pt idx="67">
                  <c:v>0.254035683942226</c:v>
                </c:pt>
                <c:pt idx="68">
                  <c:v>0.20164046479835954</c:v>
                </c:pt>
                <c:pt idx="69">
                  <c:v>0.2381646030589949</c:v>
                </c:pt>
                <c:pt idx="70">
                  <c:v>0.23992502343017807</c:v>
                </c:pt>
                <c:pt idx="71">
                  <c:v>0.18067438349270257</c:v>
                </c:pt>
                <c:pt idx="72">
                  <c:v>0.1304118268215417</c:v>
                </c:pt>
                <c:pt idx="73">
                  <c:v>0.14830736163353037</c:v>
                </c:pt>
                <c:pt idx="74">
                  <c:v>0.16686819830713423</c:v>
                </c:pt>
                <c:pt idx="75">
                  <c:v>0.34755403868031853</c:v>
                </c:pt>
                <c:pt idx="76">
                  <c:v>0.23368551895587322</c:v>
                </c:pt>
                <c:pt idx="77">
                  <c:v>0.2829614604462475</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366346981716722</c:v>
                </c:pt>
                <c:pt idx="1">
                  <c:v>0.42116154198355266</c:v>
                </c:pt>
                <c:pt idx="2">
                  <c:v>0.4215289962742009</c:v>
                </c:pt>
                <c:pt idx="3">
                  <c:v>0.4261944357049755</c:v>
                </c:pt>
                <c:pt idx="4">
                  <c:v>0.4400615615615616</c:v>
                </c:pt>
                <c:pt idx="5">
                  <c:v>0.4242767857142857</c:v>
                </c:pt>
                <c:pt idx="6">
                  <c:v>0.41755466381789397</c:v>
                </c:pt>
                <c:pt idx="7">
                  <c:v>0.4154055989767521</c:v>
                </c:pt>
                <c:pt idx="8">
                  <c:v>0.39131087184565877</c:v>
                </c:pt>
                <c:pt idx="9">
                  <c:v>0.44233120296645234</c:v>
                </c:pt>
                <c:pt idx="10">
                  <c:v>0.5066601442988654</c:v>
                </c:pt>
                <c:pt idx="11">
                  <c:v>0.5159776021035025</c:v>
                </c:pt>
                <c:pt idx="12">
                  <c:v>0.5148733040190258</c:v>
                </c:pt>
                <c:pt idx="13">
                  <c:v>0.5076417615246653</c:v>
                </c:pt>
                <c:pt idx="14">
                  <c:v>0.4567535824112987</c:v>
                </c:pt>
                <c:pt idx="15">
                  <c:v>0.40539161827028725</c:v>
                </c:pt>
                <c:pt idx="16">
                  <c:v>0.4126519869847765</c:v>
                </c:pt>
                <c:pt idx="17">
                  <c:v>0.4195541829519679</c:v>
                </c:pt>
                <c:pt idx="18">
                  <c:v>0.4307805970149254</c:v>
                </c:pt>
                <c:pt idx="19">
                  <c:v>0.4474327372056176</c:v>
                </c:pt>
                <c:pt idx="20">
                  <c:v>0.49280436835621316</c:v>
                </c:pt>
                <c:pt idx="21">
                  <c:v>0.5344712147938184</c:v>
                </c:pt>
                <c:pt idx="22">
                  <c:v>0.5211646726747621</c:v>
                </c:pt>
                <c:pt idx="23">
                  <c:v>0.5252019607401153</c:v>
                </c:pt>
                <c:pt idx="24">
                  <c:v>0.5241736793817586</c:v>
                </c:pt>
                <c:pt idx="25">
                  <c:v>0.5220485175202156</c:v>
                </c:pt>
                <c:pt idx="26">
                  <c:v>0.5250145408439009</c:v>
                </c:pt>
                <c:pt idx="27">
                  <c:v>0.48033730236189737</c:v>
                </c:pt>
                <c:pt idx="28">
                  <c:v>0.461218500969201</c:v>
                </c:pt>
                <c:pt idx="29">
                  <c:v>0.4593092902122826</c:v>
                </c:pt>
                <c:pt idx="30">
                  <c:v>0.44723519784000765</c:v>
                </c:pt>
                <c:pt idx="31">
                  <c:v>0.45035614345604047</c:v>
                </c:pt>
                <c:pt idx="32">
                  <c:v>0.45252617030722914</c:v>
                </c:pt>
                <c:pt idx="33">
                  <c:v>0.4413664504716981</c:v>
                </c:pt>
                <c:pt idx="34">
                  <c:v>0.45163985856981853</c:v>
                </c:pt>
                <c:pt idx="35">
                  <c:v>0.44712980617875747</c:v>
                </c:pt>
                <c:pt idx="36">
                  <c:v>0.4533880026994002</c:v>
                </c:pt>
                <c:pt idx="37">
                  <c:v>0.4437874320670401</c:v>
                </c:pt>
                <c:pt idx="38">
                  <c:v>0.464002342483032</c:v>
                </c:pt>
                <c:pt idx="39">
                  <c:v>0.4449898816730145</c:v>
                </c:pt>
                <c:pt idx="40">
                  <c:v>0.4583144068012587</c:v>
                </c:pt>
                <c:pt idx="41">
                  <c:v>0.4600798552436781</c:v>
                </c:pt>
                <c:pt idx="42">
                  <c:v>0.4280237675858062</c:v>
                </c:pt>
                <c:pt idx="43">
                  <c:v>0.4414662779031484</c:v>
                </c:pt>
                <c:pt idx="44">
                  <c:v>0.42862881889220833</c:v>
                </c:pt>
                <c:pt idx="45">
                  <c:v>0.43249203845352546</c:v>
                </c:pt>
                <c:pt idx="46">
                  <c:v>0.4689431766066158</c:v>
                </c:pt>
                <c:pt idx="47">
                  <c:v>0.5049246851270265</c:v>
                </c:pt>
                <c:pt idx="48">
                  <c:v>0.5078458869187531</c:v>
                </c:pt>
                <c:pt idx="49">
                  <c:v>0.46153717921128484</c:v>
                </c:pt>
                <c:pt idx="50">
                  <c:v>0.454423526717807</c:v>
                </c:pt>
                <c:pt idx="51">
                  <c:v>0.4573467406688354</c:v>
                </c:pt>
              </c:numCache>
            </c:numRef>
          </c:xVal>
          <c:yVal>
            <c:numRef>
              <c:f>Sheet1!$B$82:$B$133</c:f>
              <c:numCache>
                <c:formatCode>General</c:formatCode>
                <c:ptCount val="52"/>
                <c:pt idx="0">
                  <c:v>0.21835958718087994</c:v>
                </c:pt>
                <c:pt idx="1">
                  <c:v>0.21130551816958276</c:v>
                </c:pt>
                <c:pt idx="2">
                  <c:v>0.23941368078175895</c:v>
                </c:pt>
                <c:pt idx="3">
                  <c:v>0.21745788667687596</c:v>
                </c:pt>
                <c:pt idx="4">
                  <c:v>0.1935483870967742</c:v>
                </c:pt>
                <c:pt idx="5">
                  <c:v>0.23882224645583425</c:v>
                </c:pt>
                <c:pt idx="6">
                  <c:v>0.23144654088050315</c:v>
                </c:pt>
                <c:pt idx="7">
                  <c:v>0.34794776119402987</c:v>
                </c:pt>
                <c:pt idx="8">
                  <c:v>0.242263483642794</c:v>
                </c:pt>
                <c:pt idx="9">
                  <c:v>0.20965770171149145</c:v>
                </c:pt>
                <c:pt idx="10">
                  <c:v>0.18469656992084432</c:v>
                </c:pt>
                <c:pt idx="11">
                  <c:v>0.16740929344366645</c:v>
                </c:pt>
                <c:pt idx="12">
                  <c:v>0.1688914683691236</c:v>
                </c:pt>
                <c:pt idx="13">
                  <c:v>0.15506172839506172</c:v>
                </c:pt>
                <c:pt idx="14">
                  <c:v>0.18973326623049824</c:v>
                </c:pt>
                <c:pt idx="15">
                  <c:v>0.2109016811003566</c:v>
                </c:pt>
                <c:pt idx="16">
                  <c:v>0.22683513838748495</c:v>
                </c:pt>
                <c:pt idx="17">
                  <c:v>0.20946745562130178</c:v>
                </c:pt>
                <c:pt idx="18">
                  <c:v>0.2857142857142857</c:v>
                </c:pt>
                <c:pt idx="19">
                  <c:v>0.2734107997265892</c:v>
                </c:pt>
                <c:pt idx="20">
                  <c:v>0.1369629944704381</c:v>
                </c:pt>
                <c:pt idx="21">
                  <c:v>0.15364431486880467</c:v>
                </c:pt>
                <c:pt idx="22">
                  <c:v>0.12201222901612006</c:v>
                </c:pt>
                <c:pt idx="23">
                  <c:v>0.11001676445934619</c:v>
                </c:pt>
                <c:pt idx="24">
                  <c:v>0.10187179062448236</c:v>
                </c:pt>
                <c:pt idx="25">
                  <c:v>0.10844817255841821</c:v>
                </c:pt>
                <c:pt idx="26">
                  <c:v>0.10909090909090909</c:v>
                </c:pt>
                <c:pt idx="27">
                  <c:v>0.15274081958488558</c:v>
                </c:pt>
                <c:pt idx="28">
                  <c:v>0.25967261904761907</c:v>
                </c:pt>
                <c:pt idx="29">
                  <c:v>0.270223752151463</c:v>
                </c:pt>
                <c:pt idx="30">
                  <c:v>0.2642570281124498</c:v>
                </c:pt>
                <c:pt idx="31">
                  <c:v>0.23949246629659002</c:v>
                </c:pt>
                <c:pt idx="32">
                  <c:v>0.1802030456852792</c:v>
                </c:pt>
                <c:pt idx="33">
                  <c:v>0.23486901535682023</c:v>
                </c:pt>
                <c:pt idx="34">
                  <c:v>0.25040518638573744</c:v>
                </c:pt>
                <c:pt idx="35">
                  <c:v>0.17073170731707318</c:v>
                </c:pt>
                <c:pt idx="36">
                  <c:v>0.1782456140350877</c:v>
                </c:pt>
                <c:pt idx="37">
                  <c:v>0.17681347150259066</c:v>
                </c:pt>
                <c:pt idx="38">
                  <c:v>0.18516247700797056</c:v>
                </c:pt>
                <c:pt idx="39">
                  <c:v>0.20920502092050208</c:v>
                </c:pt>
                <c:pt idx="40">
                  <c:v>0.2025</c:v>
                </c:pt>
                <c:pt idx="41">
                  <c:v>0.19202898550724637</c:v>
                </c:pt>
                <c:pt idx="42">
                  <c:v>0.3032094594594595</c:v>
                </c:pt>
                <c:pt idx="43">
                  <c:v>0.26222935044105855</c:v>
                </c:pt>
                <c:pt idx="44">
                  <c:v>0.2631578947368421</c:v>
                </c:pt>
                <c:pt idx="45">
                  <c:v>0.2645794966236955</c:v>
                </c:pt>
                <c:pt idx="46">
                  <c:v>0.1908817635270541</c:v>
                </c:pt>
                <c:pt idx="47">
                  <c:v>0.16699539776462854</c:v>
                </c:pt>
                <c:pt idx="48">
                  <c:v>0.16276346604215455</c:v>
                </c:pt>
                <c:pt idx="49">
                  <c:v>0.1640926640926641</c:v>
                </c:pt>
                <c:pt idx="50">
                  <c:v>0.25035663338088443</c:v>
                </c:pt>
                <c:pt idx="51">
                  <c:v>0.18158066623122143</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44083657921695824</c:v>
                </c:pt>
              </c:numCache>
            </c:numRef>
          </c:xVal>
          <c:yVal>
            <c:numRef>
              <c:f>Sheet1!$B$136:$B$137</c:f>
              <c:numCache>
                <c:formatCode>General</c:formatCode>
                <c:ptCount val="2"/>
                <c:pt idx="0">
                  <c:v>0.22492033760724345</c:v>
                </c:pt>
                <c:pt idx="1">
                  <c:v>0.22492033760724345</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44083657921695824</c:v>
                </c:pt>
                <c:pt idx="1">
                  <c:v>0.44083657921695824</c:v>
                </c:pt>
              </c:numCache>
            </c:numRef>
          </c:xVal>
          <c:yVal>
            <c:numRef>
              <c:f>Sheet1!$B$140:$B$141</c:f>
              <c:numCache>
                <c:formatCode>General</c:formatCode>
                <c:ptCount val="2"/>
                <c:pt idx="0">
                  <c:v>0.224920337607243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4445931113457704</c:v>
                </c:pt>
              </c:numCache>
            </c:numRef>
          </c:xVal>
          <c:yVal>
            <c:numRef>
              <c:f>Sheet1!$B$144:$B$145</c:f>
              <c:numCache>
                <c:formatCode>General</c:formatCode>
                <c:ptCount val="2"/>
                <c:pt idx="0">
                  <c:v>0.22086308657878145</c:v>
                </c:pt>
                <c:pt idx="1">
                  <c:v>0.22086308657878145</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445931113457704</c:v>
                </c:pt>
                <c:pt idx="1">
                  <c:v>0.4445931113457704</c:v>
                </c:pt>
              </c:numCache>
            </c:numRef>
          </c:xVal>
          <c:yVal>
            <c:numRef>
              <c:f>Sheet1!$B$148:$B$149</c:f>
              <c:numCache>
                <c:formatCode>General</c:formatCode>
                <c:ptCount val="2"/>
                <c:pt idx="0">
                  <c:v>0.220863086578781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44869827784465854</c:v>
                </c:pt>
              </c:numCache>
            </c:numRef>
          </c:xVal>
          <c:yVal>
            <c:numRef>
              <c:f>Sheet1!$B$152:$B$153</c:f>
              <c:numCache>
                <c:formatCode>General</c:formatCode>
                <c:ptCount val="2"/>
                <c:pt idx="0">
                  <c:v>0.21642929220980087</c:v>
                </c:pt>
                <c:pt idx="1">
                  <c:v>0.21642929220980087</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4869827784465854</c:v>
                </c:pt>
                <c:pt idx="1">
                  <c:v>0.44869827784465854</c:v>
                </c:pt>
              </c:numCache>
            </c:numRef>
          </c:xVal>
          <c:yVal>
            <c:numRef>
              <c:f>Sheet1!$B$156:$B$157</c:f>
              <c:numCache>
                <c:formatCode>General</c:formatCode>
                <c:ptCount val="2"/>
                <c:pt idx="0">
                  <c:v>0.2164292922098008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366346981716722</c:v>
                </c:pt>
                <c:pt idx="1">
                  <c:v>0.42116154198355266</c:v>
                </c:pt>
                <c:pt idx="2">
                  <c:v>0.4215289962742009</c:v>
                </c:pt>
                <c:pt idx="3">
                  <c:v>0.4261944357049755</c:v>
                </c:pt>
                <c:pt idx="4">
                  <c:v>0.4400615615615616</c:v>
                </c:pt>
                <c:pt idx="5">
                  <c:v>0.4242767857142857</c:v>
                </c:pt>
                <c:pt idx="6">
                  <c:v>0.41755466381789397</c:v>
                </c:pt>
                <c:pt idx="7">
                  <c:v>0.4154055989767521</c:v>
                </c:pt>
                <c:pt idx="8">
                  <c:v>0.39131087184565877</c:v>
                </c:pt>
                <c:pt idx="9">
                  <c:v>0.44233120296645234</c:v>
                </c:pt>
                <c:pt idx="10">
                  <c:v>0.5066601442988654</c:v>
                </c:pt>
                <c:pt idx="11">
                  <c:v>0.5159776021035025</c:v>
                </c:pt>
                <c:pt idx="12">
                  <c:v>0.5148733040190258</c:v>
                </c:pt>
                <c:pt idx="13">
                  <c:v>0.5076417615246653</c:v>
                </c:pt>
                <c:pt idx="14">
                  <c:v>0.4567535824112987</c:v>
                </c:pt>
                <c:pt idx="15">
                  <c:v>0.40539161827028725</c:v>
                </c:pt>
                <c:pt idx="16">
                  <c:v>0.4126519869847765</c:v>
                </c:pt>
                <c:pt idx="17">
                  <c:v>0.4195541829519679</c:v>
                </c:pt>
                <c:pt idx="18">
                  <c:v>0.4307805970149254</c:v>
                </c:pt>
                <c:pt idx="19">
                  <c:v>0.4474327372056176</c:v>
                </c:pt>
                <c:pt idx="20">
                  <c:v>0.49280436835621316</c:v>
                </c:pt>
                <c:pt idx="21">
                  <c:v>0.5344712147938184</c:v>
                </c:pt>
                <c:pt idx="22">
                  <c:v>0.5211646726747621</c:v>
                </c:pt>
                <c:pt idx="23">
                  <c:v>0.5252019607401153</c:v>
                </c:pt>
                <c:pt idx="24">
                  <c:v>0.5241736793817586</c:v>
                </c:pt>
                <c:pt idx="25">
                  <c:v>0.5220485175202156</c:v>
                </c:pt>
                <c:pt idx="26">
                  <c:v>0.5250145408439009</c:v>
                </c:pt>
                <c:pt idx="27">
                  <c:v>0.48033730236189737</c:v>
                </c:pt>
                <c:pt idx="28">
                  <c:v>0.461218500969201</c:v>
                </c:pt>
                <c:pt idx="29">
                  <c:v>0.4593092902122826</c:v>
                </c:pt>
                <c:pt idx="30">
                  <c:v>0.44723519784000765</c:v>
                </c:pt>
                <c:pt idx="31">
                  <c:v>0.45035614345604047</c:v>
                </c:pt>
                <c:pt idx="32">
                  <c:v>0.45252617030722914</c:v>
                </c:pt>
                <c:pt idx="33">
                  <c:v>0.4413664504716981</c:v>
                </c:pt>
                <c:pt idx="34">
                  <c:v>0.45163985856981853</c:v>
                </c:pt>
                <c:pt idx="35">
                  <c:v>0.44712980617875747</c:v>
                </c:pt>
                <c:pt idx="36">
                  <c:v>0.4533880026994002</c:v>
                </c:pt>
                <c:pt idx="37">
                  <c:v>0.4437874320670401</c:v>
                </c:pt>
                <c:pt idx="38">
                  <c:v>0.464002342483032</c:v>
                </c:pt>
                <c:pt idx="39">
                  <c:v>0.4449898816730145</c:v>
                </c:pt>
                <c:pt idx="40">
                  <c:v>0.4583144068012587</c:v>
                </c:pt>
                <c:pt idx="41">
                  <c:v>0.4600798552436781</c:v>
                </c:pt>
                <c:pt idx="42">
                  <c:v>0.4280237675858062</c:v>
                </c:pt>
                <c:pt idx="43">
                  <c:v>0.4414662779031484</c:v>
                </c:pt>
                <c:pt idx="44">
                  <c:v>0.42862881889220833</c:v>
                </c:pt>
                <c:pt idx="45">
                  <c:v>0.43249203845352546</c:v>
                </c:pt>
                <c:pt idx="46">
                  <c:v>0.4689431766066158</c:v>
                </c:pt>
                <c:pt idx="47">
                  <c:v>0.5049246851270265</c:v>
                </c:pt>
                <c:pt idx="48">
                  <c:v>0.5078458869187531</c:v>
                </c:pt>
                <c:pt idx="49">
                  <c:v>0.46153717921128484</c:v>
                </c:pt>
                <c:pt idx="50">
                  <c:v>0.454423526717807</c:v>
                </c:pt>
                <c:pt idx="51">
                  <c:v>0.4573467406688354</c:v>
                </c:pt>
                <c:pt idx="52">
                  <c:v>0.4445931113457704</c:v>
                </c:pt>
                <c:pt idx="53">
                  <c:v>0.44083657921695824</c:v>
                </c:pt>
                <c:pt idx="54">
                  <c:v>0.44869827784465854</c:v>
                </c:pt>
              </c:numCache>
            </c:numRef>
          </c:xVal>
          <c:yVal>
            <c:numRef>
              <c:f>Sheet1!$B$160:$B$214</c:f>
              <c:numCache>
                <c:formatCode>General</c:formatCode>
                <c:ptCount val="55"/>
                <c:pt idx="0">
                  <c:v>0.22945858874096992</c:v>
                </c:pt>
                <c:pt idx="1">
                  <c:v>0.2461704061047289</c:v>
                </c:pt>
                <c:pt idx="2">
                  <c:v>0.2457735362663983</c:v>
                </c:pt>
                <c:pt idx="3">
                  <c:v>0.2407346178491817</c:v>
                </c:pt>
                <c:pt idx="4">
                  <c:v>0.22575739718017152</c:v>
                </c:pt>
                <c:pt idx="5">
                  <c:v>0.24280578006213915</c:v>
                </c:pt>
                <c:pt idx="6">
                  <c:v>0.2500660230315521</c:v>
                </c:pt>
                <c:pt idx="7">
                  <c:v>0.2523871253775372</c:v>
                </c:pt>
                <c:pt idx="8">
                  <c:v>0.278410689952786</c:v>
                </c:pt>
                <c:pt idx="9">
                  <c:v>0.22330606584358992</c:v>
                </c:pt>
                <c:pt idx="10">
                  <c:v>0.15382744715190444</c:v>
                </c:pt>
                <c:pt idx="11">
                  <c:v>0.14376410576036713</c:v>
                </c:pt>
                <c:pt idx="12">
                  <c:v>0.1449568054060344</c:v>
                </c:pt>
                <c:pt idx="13">
                  <c:v>0.15276724924533358</c:v>
                </c:pt>
                <c:pt idx="14">
                  <c:v>0.20772914227978823</c:v>
                </c:pt>
                <c:pt idx="15">
                  <c:v>0.26320274790574133</c:v>
                </c:pt>
                <c:pt idx="16">
                  <c:v>0.2553611702421451</c:v>
                </c:pt>
                <c:pt idx="17">
                  <c:v>0.24790643786497557</c:v>
                </c:pt>
                <c:pt idx="18">
                  <c:v>0.23578132394580426</c:v>
                </c:pt>
                <c:pt idx="19">
                  <c:v>0.21779614224149035</c:v>
                </c:pt>
                <c:pt idx="20">
                  <c:v>0.1687924093206803</c:v>
                </c:pt>
                <c:pt idx="21">
                  <c:v>0.12379003751474604</c:v>
                </c:pt>
                <c:pt idx="22">
                  <c:v>0.13816179844918153</c:v>
                </c:pt>
                <c:pt idx="23">
                  <c:v>0.13380131633598014</c:v>
                </c:pt>
                <c:pt idx="24">
                  <c:v>0.13491191394454105</c:v>
                </c:pt>
                <c:pt idx="25">
                  <c:v>0.1372071998233071</c:v>
                </c:pt>
                <c:pt idx="26">
                  <c:v>0.13400373961910295</c:v>
                </c:pt>
                <c:pt idx="27">
                  <c:v>0.18225749216647402</c:v>
                </c:pt>
                <c:pt idx="28">
                  <c:v>0.2029067968851872</c:v>
                </c:pt>
                <c:pt idx="29">
                  <c:v>0.204968844284608</c:v>
                </c:pt>
                <c:pt idx="30">
                  <c:v>0.2180094950804387</c:v>
                </c:pt>
                <c:pt idx="31">
                  <c:v>0.21463871070372498</c:v>
                </c:pt>
                <c:pt idx="32">
                  <c:v>0.21229496829134226</c:v>
                </c:pt>
                <c:pt idx="33">
                  <c:v>0.22434804895922233</c:v>
                </c:pt>
                <c:pt idx="34">
                  <c:v>0.21325223128945864</c:v>
                </c:pt>
                <c:pt idx="35">
                  <c:v>0.21812332358272118</c:v>
                </c:pt>
                <c:pt idx="36">
                  <c:v>0.21136414426545974</c:v>
                </c:pt>
                <c:pt idx="37">
                  <c:v>0.22173326230739226</c:v>
                </c:pt>
                <c:pt idx="38">
                  <c:v>0.19990010255707624</c:v>
                </c:pt>
                <c:pt idx="39">
                  <c:v>0.22043455388876998</c:v>
                </c:pt>
                <c:pt idx="40">
                  <c:v>0.20604337036455744</c:v>
                </c:pt>
                <c:pt idx="41">
                  <c:v>0.20413659377831062</c:v>
                </c:pt>
                <c:pt idx="42">
                  <c:v>0.23875884381068158</c:v>
                </c:pt>
                <c:pt idx="43">
                  <c:v>0.22424023011592964</c:v>
                </c:pt>
                <c:pt idx="44">
                  <c:v>0.238105356777696</c:v>
                </c:pt>
                <c:pt idx="45">
                  <c:v>0.23393287774627491</c:v>
                </c:pt>
                <c:pt idx="46">
                  <c:v>0.19456374347854777</c:v>
                </c:pt>
                <c:pt idx="47">
                  <c:v>0.1557018337585815</c:v>
                </c:pt>
                <c:pt idx="48">
                  <c:v>0.15254678315142067</c:v>
                </c:pt>
                <c:pt idx="49">
                  <c:v>0.20256260772851092</c:v>
                </c:pt>
                <c:pt idx="50">
                  <c:v>0.2102457242055183</c:v>
                </c:pt>
                <c:pt idx="51">
                  <c:v>0.20708850036114917</c:v>
                </c:pt>
                <c:pt idx="52">
                  <c:v>0.22086308657878145</c:v>
                </c:pt>
                <c:pt idx="53">
                  <c:v>0.22492033760724345</c:v>
                </c:pt>
                <c:pt idx="54">
                  <c:v>0.2164292922098009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utz</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753731343283584"/>
          <c:min val="0.0690394929302779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26.7857</c:v>
                </c:pt>
                <c:pt idx="1">
                  <c:v>27.3077</c:v>
                </c:pt>
                <c:pt idx="2">
                  <c:v>27.7345</c:v>
                </c:pt>
                <c:pt idx="3">
                  <c:v>26.6549</c:v>
                </c:pt>
                <c:pt idx="4">
                  <c:v>27.2711</c:v>
                </c:pt>
                <c:pt idx="5">
                  <c:v>28.6394</c:v>
                </c:pt>
                <c:pt idx="6">
                  <c:v>28.6993</c:v>
                </c:pt>
                <c:pt idx="7">
                  <c:v>28.2167</c:v>
                </c:pt>
                <c:pt idx="8">
                  <c:v>27.7686</c:v>
                </c:pt>
                <c:pt idx="9">
                  <c:v>27.8049</c:v>
                </c:pt>
                <c:pt idx="10">
                  <c:v>28.1086</c:v>
                </c:pt>
                <c:pt idx="11">
                  <c:v>27.8195</c:v>
                </c:pt>
                <c:pt idx="12">
                  <c:v>27.5358</c:v>
                </c:pt>
                <c:pt idx="13">
                  <c:v>28.6171</c:v>
                </c:pt>
                <c:pt idx="14">
                  <c:v>28.0</c:v>
                </c:pt>
                <c:pt idx="15">
                  <c:v>27.9424</c:v>
                </c:pt>
                <c:pt idx="16">
                  <c:v>27.8571</c:v>
                </c:pt>
                <c:pt idx="17">
                  <c:v>27.9723</c:v>
                </c:pt>
                <c:pt idx="18">
                  <c:v>27.5248</c:v>
                </c:pt>
                <c:pt idx="19">
                  <c:v>27.8453</c:v>
                </c:pt>
                <c:pt idx="20">
                  <c:v>27.4665</c:v>
                </c:pt>
                <c:pt idx="21">
                  <c:v>27.4063</c:v>
                </c:pt>
                <c:pt idx="22">
                  <c:v>27.7084</c:v>
                </c:pt>
                <c:pt idx="23">
                  <c:v>27.6593</c:v>
                </c:pt>
                <c:pt idx="24">
                  <c:v>27.5369</c:v>
                </c:pt>
                <c:pt idx="25">
                  <c:v>27.9508</c:v>
                </c:pt>
                <c:pt idx="26">
                  <c:v>27.7778</c:v>
                </c:pt>
                <c:pt idx="27">
                  <c:v>27.3924</c:v>
                </c:pt>
                <c:pt idx="28">
                  <c:v>28.3825</c:v>
                </c:pt>
                <c:pt idx="29">
                  <c:v>27.5532</c:v>
                </c:pt>
                <c:pt idx="30">
                  <c:v>28.9679</c:v>
                </c:pt>
                <c:pt idx="31">
                  <c:v>27.5872</c:v>
                </c:pt>
                <c:pt idx="32">
                  <c:v>27.3238</c:v>
                </c:pt>
                <c:pt idx="33">
                  <c:v>27.4622</c:v>
                </c:pt>
                <c:pt idx="34">
                  <c:v>27.9283</c:v>
                </c:pt>
                <c:pt idx="35">
                  <c:v>27.2074</c:v>
                </c:pt>
                <c:pt idx="36">
                  <c:v>26.9724</c:v>
                </c:pt>
                <c:pt idx="37">
                  <c:v>27.3467</c:v>
                </c:pt>
                <c:pt idx="38">
                  <c:v>27.7224</c:v>
                </c:pt>
                <c:pt idx="39">
                  <c:v>27.9721</c:v>
                </c:pt>
                <c:pt idx="40">
                  <c:v>27.8265</c:v>
                </c:pt>
                <c:pt idx="41">
                  <c:v>29.7293</c:v>
                </c:pt>
                <c:pt idx="42">
                  <c:v>28.8054</c:v>
                </c:pt>
                <c:pt idx="43">
                  <c:v>28.5889</c:v>
                </c:pt>
                <c:pt idx="44">
                  <c:v>29.3536</c:v>
                </c:pt>
                <c:pt idx="45">
                  <c:v>28.0266</c:v>
                </c:pt>
                <c:pt idx="46">
                  <c:v>28.2292</c:v>
                </c:pt>
                <c:pt idx="47">
                  <c:v>28.1134</c:v>
                </c:pt>
                <c:pt idx="48">
                  <c:v>28.1382</c:v>
                </c:pt>
                <c:pt idx="49">
                  <c:v>28.7476</c:v>
                </c:pt>
                <c:pt idx="50">
                  <c:v>28.3983</c:v>
                </c:pt>
                <c:pt idx="51">
                  <c:v>29.171</c:v>
                </c:pt>
                <c:pt idx="52">
                  <c:v>31.2073</c:v>
                </c:pt>
                <c:pt idx="53">
                  <c:v>30.0319</c:v>
                </c:pt>
                <c:pt idx="54">
                  <c:v>30.2287</c:v>
                </c:pt>
                <c:pt idx="55">
                  <c:v>30.0922</c:v>
                </c:pt>
                <c:pt idx="56">
                  <c:v>29.8854</c:v>
                </c:pt>
                <c:pt idx="57">
                  <c:v>30.3495</c:v>
                </c:pt>
                <c:pt idx="58">
                  <c:v>30.0821</c:v>
                </c:pt>
                <c:pt idx="59">
                  <c:v>30.028</c:v>
                </c:pt>
                <c:pt idx="60">
                  <c:v>30.8038</c:v>
                </c:pt>
                <c:pt idx="61">
                  <c:v>30.2172</c:v>
                </c:pt>
                <c:pt idx="62">
                  <c:v>30.5685</c:v>
                </c:pt>
                <c:pt idx="63">
                  <c:v>30.2795</c:v>
                </c:pt>
                <c:pt idx="64">
                  <c:v>30.3125</c:v>
                </c:pt>
                <c:pt idx="65">
                  <c:v>29.8964</c:v>
                </c:pt>
                <c:pt idx="66">
                  <c:v>30.2909</c:v>
                </c:pt>
                <c:pt idx="67">
                  <c:v>31.5217</c:v>
                </c:pt>
                <c:pt idx="68">
                  <c:v>31.3966</c:v>
                </c:pt>
                <c:pt idx="69">
                  <c:v>31.8777</c:v>
                </c:pt>
                <c:pt idx="70">
                  <c:v>31.4492</c:v>
                </c:pt>
                <c:pt idx="71">
                  <c:v>30.4986</c:v>
                </c:pt>
                <c:pt idx="72">
                  <c:v>30.2794</c:v>
                </c:pt>
                <c:pt idx="73">
                  <c:v>29.9203</c:v>
                </c:pt>
                <c:pt idx="74">
                  <c:v>30.6703</c:v>
                </c:pt>
                <c:pt idx="75">
                  <c:v>27.2439</c:v>
                </c:pt>
                <c:pt idx="76">
                  <c:v>28.4681</c:v>
                </c:pt>
                <c:pt idx="77">
                  <c:v>27.991</c:v>
                </c:pt>
              </c:numCache>
            </c:numRef>
          </c:xVal>
          <c:yVal>
            <c:numRef>
              <c:f>Sheet1!$B$2:$B$79</c:f>
              <c:numCache>
                <c:formatCode>General</c:formatCode>
                <c:ptCount val="78"/>
                <c:pt idx="0">
                  <c:v>0.1288163948138854</c:v>
                </c:pt>
                <c:pt idx="1">
                  <c:v>0.08994464944649447</c:v>
                </c:pt>
                <c:pt idx="2">
                  <c:v>0.08629936616284739</c:v>
                </c:pt>
                <c:pt idx="3">
                  <c:v>0.13267429760665972</c:v>
                </c:pt>
                <c:pt idx="4">
                  <c:v>0.13670505758637957</c:v>
                </c:pt>
                <c:pt idx="5">
                  <c:v>0.1554913294797688</c:v>
                </c:pt>
                <c:pt idx="6">
                  <c:v>0.15907780979827088</c:v>
                </c:pt>
                <c:pt idx="7">
                  <c:v>0.17533333333333334</c:v>
                </c:pt>
                <c:pt idx="8">
                  <c:v>0.1788218793828892</c:v>
                </c:pt>
                <c:pt idx="9">
                  <c:v>0.19396806623299823</c:v>
                </c:pt>
                <c:pt idx="10">
                  <c:v>0.21046301864101022</c:v>
                </c:pt>
                <c:pt idx="11">
                  <c:v>0.18080939947780678</c:v>
                </c:pt>
                <c:pt idx="12">
                  <c:v>0.16540284360189572</c:v>
                </c:pt>
                <c:pt idx="13">
                  <c:v>0.21594289113622844</c:v>
                </c:pt>
                <c:pt idx="14">
                  <c:v>0.27213822894168466</c:v>
                </c:pt>
                <c:pt idx="15">
                  <c:v>0.20471464019851116</c:v>
                </c:pt>
                <c:pt idx="16">
                  <c:v>0.18238213399503722</c:v>
                </c:pt>
                <c:pt idx="17">
                  <c:v>0.24621212121212122</c:v>
                </c:pt>
                <c:pt idx="18">
                  <c:v>0.24765807962529274</c:v>
                </c:pt>
                <c:pt idx="19">
                  <c:v>0.2092326139088729</c:v>
                </c:pt>
                <c:pt idx="20">
                  <c:v>0.2108843537414966</c:v>
                </c:pt>
                <c:pt idx="21">
                  <c:v>0.17079679756004576</c:v>
                </c:pt>
                <c:pt idx="22">
                  <c:v>0.2015376166941241</c:v>
                </c:pt>
                <c:pt idx="23">
                  <c:v>0.19956140350877194</c:v>
                </c:pt>
                <c:pt idx="24">
                  <c:v>0.21561338289962825</c:v>
                </c:pt>
                <c:pt idx="25">
                  <c:v>0.2131419105466593</c:v>
                </c:pt>
                <c:pt idx="26">
                  <c:v>0.1572052401746725</c:v>
                </c:pt>
                <c:pt idx="27">
                  <c:v>0.19986120749479527</c:v>
                </c:pt>
                <c:pt idx="28">
                  <c:v>0.16002949852507375</c:v>
                </c:pt>
                <c:pt idx="29">
                  <c:v>0.22472677595628415</c:v>
                </c:pt>
                <c:pt idx="30">
                  <c:v>0.1929203539823009</c:v>
                </c:pt>
                <c:pt idx="31">
                  <c:v>0.235</c:v>
                </c:pt>
                <c:pt idx="32">
                  <c:v>0.23178807947019867</c:v>
                </c:pt>
                <c:pt idx="33">
                  <c:v>0.2313364055299539</c:v>
                </c:pt>
                <c:pt idx="34">
                  <c:v>0.21160184574818722</c:v>
                </c:pt>
                <c:pt idx="35">
                  <c:v>0.22026947861745752</c:v>
                </c:pt>
                <c:pt idx="36">
                  <c:v>0.165675057208238</c:v>
                </c:pt>
                <c:pt idx="37">
                  <c:v>0.23753501400560223</c:v>
                </c:pt>
                <c:pt idx="38">
                  <c:v>0.19756221432199086</c:v>
                </c:pt>
                <c:pt idx="39">
                  <c:v>0.1559912854030501</c:v>
                </c:pt>
                <c:pt idx="40">
                  <c:v>0.2582451773490977</c:v>
                </c:pt>
                <c:pt idx="41">
                  <c:v>0.20051085568326948</c:v>
                </c:pt>
                <c:pt idx="42">
                  <c:v>0.19775014801657786</c:v>
                </c:pt>
                <c:pt idx="43">
                  <c:v>0.24640522875816995</c:v>
                </c:pt>
                <c:pt idx="44">
                  <c:v>0.16869788325849905</c:v>
                </c:pt>
                <c:pt idx="45">
                  <c:v>0.1583173996175908</c:v>
                </c:pt>
                <c:pt idx="46">
                  <c:v>0.1258741258741259</c:v>
                </c:pt>
                <c:pt idx="47">
                  <c:v>0.11168562564632885</c:v>
                </c:pt>
                <c:pt idx="48">
                  <c:v>0.11410550458715596</c:v>
                </c:pt>
                <c:pt idx="49">
                  <c:v>0.09468616262482168</c:v>
                </c:pt>
                <c:pt idx="50">
                  <c:v>0.09833694866232827</c:v>
                </c:pt>
                <c:pt idx="51">
                  <c:v>0.10812324929971989</c:v>
                </c:pt>
                <c:pt idx="52">
                  <c:v>0.12584971523057137</c:v>
                </c:pt>
                <c:pt idx="53">
                  <c:v>0.1324538258575198</c:v>
                </c:pt>
                <c:pt idx="54">
                  <c:v>0.1465076660988075</c:v>
                </c:pt>
                <c:pt idx="55">
                  <c:v>0.17961783439490445</c:v>
                </c:pt>
                <c:pt idx="56">
                  <c:v>0.15931989924433249</c:v>
                </c:pt>
                <c:pt idx="57">
                  <c:v>0.20942028985507247</c:v>
                </c:pt>
                <c:pt idx="58">
                  <c:v>0.27064538514920194</c:v>
                </c:pt>
                <c:pt idx="59">
                  <c:v>0.2587991718426501</c:v>
                </c:pt>
                <c:pt idx="60">
                  <c:v>0.18088737201365188</c:v>
                </c:pt>
                <c:pt idx="61">
                  <c:v>0.17158931082981715</c:v>
                </c:pt>
                <c:pt idx="62">
                  <c:v>0.16358839050131926</c:v>
                </c:pt>
                <c:pt idx="63">
                  <c:v>0.1746905089408528</c:v>
                </c:pt>
                <c:pt idx="64">
                  <c:v>0.16575790621592149</c:v>
                </c:pt>
                <c:pt idx="65">
                  <c:v>0.25594149908592323</c:v>
                </c:pt>
                <c:pt idx="66">
                  <c:v>0.24379432624113476</c:v>
                </c:pt>
                <c:pt idx="67">
                  <c:v>0.254035683942226</c:v>
                </c:pt>
                <c:pt idx="68">
                  <c:v>0.20164046479835954</c:v>
                </c:pt>
                <c:pt idx="69">
                  <c:v>0.2381646030589949</c:v>
                </c:pt>
                <c:pt idx="70">
                  <c:v>0.23992502343017807</c:v>
                </c:pt>
                <c:pt idx="71">
                  <c:v>0.18067438349270257</c:v>
                </c:pt>
                <c:pt idx="72">
                  <c:v>0.1304118268215417</c:v>
                </c:pt>
                <c:pt idx="73">
                  <c:v>0.14830736163353037</c:v>
                </c:pt>
                <c:pt idx="74">
                  <c:v>0.16686819830713423</c:v>
                </c:pt>
                <c:pt idx="75">
                  <c:v>0.34755403868031853</c:v>
                </c:pt>
                <c:pt idx="76">
                  <c:v>0.23368551895587322</c:v>
                </c:pt>
                <c:pt idx="77">
                  <c:v>0.2829614604462475</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28.4502</c:v>
                </c:pt>
                <c:pt idx="1">
                  <c:v>28.3312</c:v>
                </c:pt>
                <c:pt idx="2">
                  <c:v>28.2279</c:v>
                </c:pt>
                <c:pt idx="3">
                  <c:v>28.4472</c:v>
                </c:pt>
                <c:pt idx="4">
                  <c:v>29.3081</c:v>
                </c:pt>
                <c:pt idx="5">
                  <c:v>28.5114</c:v>
                </c:pt>
                <c:pt idx="6">
                  <c:v>27.9076</c:v>
                </c:pt>
                <c:pt idx="7">
                  <c:v>27.8981</c:v>
                </c:pt>
                <c:pt idx="8">
                  <c:v>28.6861</c:v>
                </c:pt>
                <c:pt idx="9">
                  <c:v>29.5598</c:v>
                </c:pt>
                <c:pt idx="10">
                  <c:v>29.7257</c:v>
                </c:pt>
                <c:pt idx="11">
                  <c:v>29.9848</c:v>
                </c:pt>
                <c:pt idx="12">
                  <c:v>30.0928</c:v>
                </c:pt>
                <c:pt idx="13">
                  <c:v>29.465</c:v>
                </c:pt>
                <c:pt idx="14">
                  <c:v>28.1167</c:v>
                </c:pt>
                <c:pt idx="15">
                  <c:v>27.8937</c:v>
                </c:pt>
                <c:pt idx="16">
                  <c:v>27.4695</c:v>
                </c:pt>
                <c:pt idx="17">
                  <c:v>28.3927</c:v>
                </c:pt>
                <c:pt idx="18">
                  <c:v>28.8623</c:v>
                </c:pt>
                <c:pt idx="19">
                  <c:v>29.8775</c:v>
                </c:pt>
                <c:pt idx="20">
                  <c:v>30.1615</c:v>
                </c:pt>
                <c:pt idx="21">
                  <c:v>31.4516</c:v>
                </c:pt>
                <c:pt idx="22">
                  <c:v>30.262</c:v>
                </c:pt>
                <c:pt idx="23">
                  <c:v>30.2895</c:v>
                </c:pt>
                <c:pt idx="24">
                  <c:v>30.5089</c:v>
                </c:pt>
                <c:pt idx="25">
                  <c:v>30.5046</c:v>
                </c:pt>
                <c:pt idx="26">
                  <c:v>30.6</c:v>
                </c:pt>
                <c:pt idx="27">
                  <c:v>30.7596</c:v>
                </c:pt>
                <c:pt idx="28">
                  <c:v>30.8367</c:v>
                </c:pt>
                <c:pt idx="29">
                  <c:v>31.0573</c:v>
                </c:pt>
                <c:pt idx="30">
                  <c:v>29.9483</c:v>
                </c:pt>
                <c:pt idx="31">
                  <c:v>30.3046</c:v>
                </c:pt>
                <c:pt idx="32">
                  <c:v>30.6796</c:v>
                </c:pt>
                <c:pt idx="33">
                  <c:v>29.9423</c:v>
                </c:pt>
                <c:pt idx="34">
                  <c:v>30.3754</c:v>
                </c:pt>
                <c:pt idx="35">
                  <c:v>30.1099</c:v>
                </c:pt>
                <c:pt idx="36">
                  <c:v>30.1654</c:v>
                </c:pt>
                <c:pt idx="37">
                  <c:v>29.7729</c:v>
                </c:pt>
                <c:pt idx="38">
                  <c:v>30.9007</c:v>
                </c:pt>
                <c:pt idx="39">
                  <c:v>30.2133</c:v>
                </c:pt>
                <c:pt idx="40">
                  <c:v>30.572</c:v>
                </c:pt>
                <c:pt idx="41">
                  <c:v>30.766</c:v>
                </c:pt>
                <c:pt idx="42">
                  <c:v>28.5042</c:v>
                </c:pt>
                <c:pt idx="43">
                  <c:v>30.0092</c:v>
                </c:pt>
                <c:pt idx="44">
                  <c:v>28.5943</c:v>
                </c:pt>
                <c:pt idx="45">
                  <c:v>29.0626</c:v>
                </c:pt>
                <c:pt idx="46">
                  <c:v>29.0394</c:v>
                </c:pt>
                <c:pt idx="47">
                  <c:v>30.9331</c:v>
                </c:pt>
                <c:pt idx="48">
                  <c:v>30.5288</c:v>
                </c:pt>
                <c:pt idx="49">
                  <c:v>30.4549</c:v>
                </c:pt>
                <c:pt idx="50">
                  <c:v>30.5613</c:v>
                </c:pt>
                <c:pt idx="51">
                  <c:v>30.8597</c:v>
                </c:pt>
              </c:numCache>
            </c:numRef>
          </c:xVal>
          <c:yVal>
            <c:numRef>
              <c:f>Sheet1!$B$82:$B$133</c:f>
              <c:numCache>
                <c:formatCode>General</c:formatCode>
                <c:ptCount val="52"/>
                <c:pt idx="0">
                  <c:v>0.21835958718087994</c:v>
                </c:pt>
                <c:pt idx="1">
                  <c:v>0.21130551816958276</c:v>
                </c:pt>
                <c:pt idx="2">
                  <c:v>0.23941368078175895</c:v>
                </c:pt>
                <c:pt idx="3">
                  <c:v>0.21745788667687596</c:v>
                </c:pt>
                <c:pt idx="4">
                  <c:v>0.1935483870967742</c:v>
                </c:pt>
                <c:pt idx="5">
                  <c:v>0.23882224645583425</c:v>
                </c:pt>
                <c:pt idx="6">
                  <c:v>0.23144654088050315</c:v>
                </c:pt>
                <c:pt idx="7">
                  <c:v>0.34794776119402987</c:v>
                </c:pt>
                <c:pt idx="8">
                  <c:v>0.242263483642794</c:v>
                </c:pt>
                <c:pt idx="9">
                  <c:v>0.20965770171149145</c:v>
                </c:pt>
                <c:pt idx="10">
                  <c:v>0.18469656992084432</c:v>
                </c:pt>
                <c:pt idx="11">
                  <c:v>0.16740929344366645</c:v>
                </c:pt>
                <c:pt idx="12">
                  <c:v>0.1688914683691236</c:v>
                </c:pt>
                <c:pt idx="13">
                  <c:v>0.15506172839506172</c:v>
                </c:pt>
                <c:pt idx="14">
                  <c:v>0.18973326623049824</c:v>
                </c:pt>
                <c:pt idx="15">
                  <c:v>0.2109016811003566</c:v>
                </c:pt>
                <c:pt idx="16">
                  <c:v>0.22683513838748495</c:v>
                </c:pt>
                <c:pt idx="17">
                  <c:v>0.20946745562130178</c:v>
                </c:pt>
                <c:pt idx="18">
                  <c:v>0.2857142857142857</c:v>
                </c:pt>
                <c:pt idx="19">
                  <c:v>0.2734107997265892</c:v>
                </c:pt>
                <c:pt idx="20">
                  <c:v>0.1369629944704381</c:v>
                </c:pt>
                <c:pt idx="21">
                  <c:v>0.15364431486880467</c:v>
                </c:pt>
                <c:pt idx="22">
                  <c:v>0.12201222901612006</c:v>
                </c:pt>
                <c:pt idx="23">
                  <c:v>0.11001676445934619</c:v>
                </c:pt>
                <c:pt idx="24">
                  <c:v>0.10187179062448236</c:v>
                </c:pt>
                <c:pt idx="25">
                  <c:v>0.10844817255841821</c:v>
                </c:pt>
                <c:pt idx="26">
                  <c:v>0.10909090909090909</c:v>
                </c:pt>
                <c:pt idx="27">
                  <c:v>0.15274081958488558</c:v>
                </c:pt>
                <c:pt idx="28">
                  <c:v>0.25967261904761907</c:v>
                </c:pt>
                <c:pt idx="29">
                  <c:v>0.270223752151463</c:v>
                </c:pt>
                <c:pt idx="30">
                  <c:v>0.2642570281124498</c:v>
                </c:pt>
                <c:pt idx="31">
                  <c:v>0.23949246629659002</c:v>
                </c:pt>
                <c:pt idx="32">
                  <c:v>0.1802030456852792</c:v>
                </c:pt>
                <c:pt idx="33">
                  <c:v>0.23486901535682023</c:v>
                </c:pt>
                <c:pt idx="34">
                  <c:v>0.25040518638573744</c:v>
                </c:pt>
                <c:pt idx="35">
                  <c:v>0.17073170731707318</c:v>
                </c:pt>
                <c:pt idx="36">
                  <c:v>0.1782456140350877</c:v>
                </c:pt>
                <c:pt idx="37">
                  <c:v>0.17681347150259066</c:v>
                </c:pt>
                <c:pt idx="38">
                  <c:v>0.18516247700797056</c:v>
                </c:pt>
                <c:pt idx="39">
                  <c:v>0.20920502092050208</c:v>
                </c:pt>
                <c:pt idx="40">
                  <c:v>0.2025</c:v>
                </c:pt>
                <c:pt idx="41">
                  <c:v>0.19202898550724637</c:v>
                </c:pt>
                <c:pt idx="42">
                  <c:v>0.3032094594594595</c:v>
                </c:pt>
                <c:pt idx="43">
                  <c:v>0.26222935044105855</c:v>
                </c:pt>
                <c:pt idx="44">
                  <c:v>0.2631578947368421</c:v>
                </c:pt>
                <c:pt idx="45">
                  <c:v>0.2645794966236955</c:v>
                </c:pt>
                <c:pt idx="46">
                  <c:v>0.1908817635270541</c:v>
                </c:pt>
                <c:pt idx="47">
                  <c:v>0.16699539776462854</c:v>
                </c:pt>
                <c:pt idx="48">
                  <c:v>0.16276346604215455</c:v>
                </c:pt>
                <c:pt idx="49">
                  <c:v>0.1640926640926641</c:v>
                </c:pt>
                <c:pt idx="50">
                  <c:v>0.25035663338088443</c:v>
                </c:pt>
                <c:pt idx="51">
                  <c:v>0.18158066623122143</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28.820771716115352</c:v>
                </c:pt>
              </c:numCache>
            </c:numRef>
          </c:xVal>
          <c:yVal>
            <c:numRef>
              <c:f>Sheet1!$B$136:$B$137</c:f>
              <c:numCache>
                <c:formatCode>General</c:formatCode>
                <c:ptCount val="2"/>
                <c:pt idx="0">
                  <c:v>0.22492033760724345</c:v>
                </c:pt>
                <c:pt idx="1">
                  <c:v>0.22492033760724345</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28.820771716115352</c:v>
                </c:pt>
                <c:pt idx="1">
                  <c:v>28.820771716115352</c:v>
                </c:pt>
              </c:numCache>
            </c:numRef>
          </c:xVal>
          <c:yVal>
            <c:numRef>
              <c:f>Sheet1!$B$140:$B$141</c:f>
              <c:numCache>
                <c:formatCode>General</c:formatCode>
                <c:ptCount val="2"/>
                <c:pt idx="0">
                  <c:v>0.224920337607243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28.994809934146257</c:v>
                </c:pt>
              </c:numCache>
            </c:numRef>
          </c:xVal>
          <c:yVal>
            <c:numRef>
              <c:f>Sheet1!$B$144:$B$145</c:f>
              <c:numCache>
                <c:formatCode>General</c:formatCode>
                <c:ptCount val="2"/>
                <c:pt idx="0">
                  <c:v>0.22086308657878145</c:v>
                </c:pt>
                <c:pt idx="1">
                  <c:v>0.22086308657878145</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28.994809934146257</c:v>
                </c:pt>
                <c:pt idx="1">
                  <c:v>28.994809934146257</c:v>
                </c:pt>
              </c:numCache>
            </c:numRef>
          </c:xVal>
          <c:yVal>
            <c:numRef>
              <c:f>Sheet1!$B$148:$B$149</c:f>
              <c:numCache>
                <c:formatCode>General</c:formatCode>
                <c:ptCount val="2"/>
                <c:pt idx="0">
                  <c:v>0.220863086578781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29.185000204770294</c:v>
                </c:pt>
              </c:numCache>
            </c:numRef>
          </c:xVal>
          <c:yVal>
            <c:numRef>
              <c:f>Sheet1!$B$152:$B$153</c:f>
              <c:numCache>
                <c:formatCode>General</c:formatCode>
                <c:ptCount val="2"/>
                <c:pt idx="0">
                  <c:v>0.21642929220980087</c:v>
                </c:pt>
                <c:pt idx="1">
                  <c:v>0.21642929220980087</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29.185000204770294</c:v>
                </c:pt>
                <c:pt idx="1">
                  <c:v>29.185000204770294</c:v>
                </c:pt>
              </c:numCache>
            </c:numRef>
          </c:xVal>
          <c:yVal>
            <c:numRef>
              <c:f>Sheet1!$B$156:$B$157</c:f>
              <c:numCache>
                <c:formatCode>General</c:formatCode>
                <c:ptCount val="2"/>
                <c:pt idx="0">
                  <c:v>0.2164292922098008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28.4502</c:v>
                </c:pt>
                <c:pt idx="1">
                  <c:v>28.3312</c:v>
                </c:pt>
                <c:pt idx="2">
                  <c:v>28.2279</c:v>
                </c:pt>
                <c:pt idx="3">
                  <c:v>28.4472</c:v>
                </c:pt>
                <c:pt idx="4">
                  <c:v>29.3081</c:v>
                </c:pt>
                <c:pt idx="5">
                  <c:v>28.5114</c:v>
                </c:pt>
                <c:pt idx="6">
                  <c:v>27.9076</c:v>
                </c:pt>
                <c:pt idx="7">
                  <c:v>27.8981</c:v>
                </c:pt>
                <c:pt idx="8">
                  <c:v>28.6861</c:v>
                </c:pt>
                <c:pt idx="9">
                  <c:v>29.5598</c:v>
                </c:pt>
                <c:pt idx="10">
                  <c:v>29.7257</c:v>
                </c:pt>
                <c:pt idx="11">
                  <c:v>29.9848</c:v>
                </c:pt>
                <c:pt idx="12">
                  <c:v>30.0928</c:v>
                </c:pt>
                <c:pt idx="13">
                  <c:v>29.465</c:v>
                </c:pt>
                <c:pt idx="14">
                  <c:v>28.1167</c:v>
                </c:pt>
                <c:pt idx="15">
                  <c:v>27.8937</c:v>
                </c:pt>
                <c:pt idx="16">
                  <c:v>27.4695</c:v>
                </c:pt>
                <c:pt idx="17">
                  <c:v>28.3927</c:v>
                </c:pt>
                <c:pt idx="18">
                  <c:v>28.8623</c:v>
                </c:pt>
                <c:pt idx="19">
                  <c:v>29.8775</c:v>
                </c:pt>
                <c:pt idx="20">
                  <c:v>30.1615</c:v>
                </c:pt>
                <c:pt idx="21">
                  <c:v>31.4516</c:v>
                </c:pt>
                <c:pt idx="22">
                  <c:v>30.262</c:v>
                </c:pt>
                <c:pt idx="23">
                  <c:v>30.2895</c:v>
                </c:pt>
                <c:pt idx="24">
                  <c:v>30.5089</c:v>
                </c:pt>
                <c:pt idx="25">
                  <c:v>30.5046</c:v>
                </c:pt>
                <c:pt idx="26">
                  <c:v>30.6</c:v>
                </c:pt>
                <c:pt idx="27">
                  <c:v>30.7596</c:v>
                </c:pt>
                <c:pt idx="28">
                  <c:v>30.8367</c:v>
                </c:pt>
                <c:pt idx="29">
                  <c:v>31.0573</c:v>
                </c:pt>
                <c:pt idx="30">
                  <c:v>29.9483</c:v>
                </c:pt>
                <c:pt idx="31">
                  <c:v>30.3046</c:v>
                </c:pt>
                <c:pt idx="32">
                  <c:v>30.6796</c:v>
                </c:pt>
                <c:pt idx="33">
                  <c:v>29.9423</c:v>
                </c:pt>
                <c:pt idx="34">
                  <c:v>30.3754</c:v>
                </c:pt>
                <c:pt idx="35">
                  <c:v>30.1099</c:v>
                </c:pt>
                <c:pt idx="36">
                  <c:v>30.1654</c:v>
                </c:pt>
                <c:pt idx="37">
                  <c:v>29.7729</c:v>
                </c:pt>
                <c:pt idx="38">
                  <c:v>30.9007</c:v>
                </c:pt>
                <c:pt idx="39">
                  <c:v>30.2133</c:v>
                </c:pt>
                <c:pt idx="40">
                  <c:v>30.572</c:v>
                </c:pt>
                <c:pt idx="41">
                  <c:v>30.766</c:v>
                </c:pt>
                <c:pt idx="42">
                  <c:v>28.5042</c:v>
                </c:pt>
                <c:pt idx="43">
                  <c:v>30.0092</c:v>
                </c:pt>
                <c:pt idx="44">
                  <c:v>28.5943</c:v>
                </c:pt>
                <c:pt idx="45">
                  <c:v>29.0626</c:v>
                </c:pt>
                <c:pt idx="46">
                  <c:v>29.0394</c:v>
                </c:pt>
                <c:pt idx="47">
                  <c:v>30.9331</c:v>
                </c:pt>
                <c:pt idx="48">
                  <c:v>30.5288</c:v>
                </c:pt>
                <c:pt idx="49">
                  <c:v>30.4549</c:v>
                </c:pt>
                <c:pt idx="50">
                  <c:v>30.5613</c:v>
                </c:pt>
                <c:pt idx="51">
                  <c:v>30.8597</c:v>
                </c:pt>
                <c:pt idx="52">
                  <c:v>28.994809934146257</c:v>
                </c:pt>
                <c:pt idx="53">
                  <c:v>28.820771716115352</c:v>
                </c:pt>
                <c:pt idx="54">
                  <c:v>29.185000204770294</c:v>
                </c:pt>
              </c:numCache>
            </c:numRef>
          </c:xVal>
          <c:yVal>
            <c:numRef>
              <c:f>Sheet1!$B$160:$B$214</c:f>
              <c:numCache>
                <c:formatCode>General</c:formatCode>
                <c:ptCount val="55"/>
                <c:pt idx="0">
                  <c:v>0.23355925895072072</c:v>
                </c:pt>
                <c:pt idx="1">
                  <c:v>0.23633343624263747</c:v>
                </c:pt>
                <c:pt idx="2">
                  <c:v>0.23874160863133476</c:v>
                </c:pt>
                <c:pt idx="3">
                  <c:v>0.2336291961933742</c:v>
                </c:pt>
                <c:pt idx="4">
                  <c:v>0.21355953879328116</c:v>
                </c:pt>
                <c:pt idx="5">
                  <c:v>0.23213253920059218</c:v>
                </c:pt>
                <c:pt idx="6">
                  <c:v>0.24620857490529202</c:v>
                </c:pt>
                <c:pt idx="7">
                  <c:v>0.24643004284036096</c:v>
                </c:pt>
                <c:pt idx="8">
                  <c:v>0.22805986043674475</c:v>
                </c:pt>
                <c:pt idx="9">
                  <c:v>0.20769180413466415</c:v>
                </c:pt>
                <c:pt idx="10">
                  <c:v>0.20382427461593333</c:v>
                </c:pt>
                <c:pt idx="11">
                  <c:v>0.1977840280921046</c:v>
                </c:pt>
                <c:pt idx="12">
                  <c:v>0.19526628735658358</c:v>
                </c:pt>
                <c:pt idx="13">
                  <c:v>0.20990182100251042</c:v>
                </c:pt>
                <c:pt idx="14">
                  <c:v>0.24133394909235273</c:v>
                </c:pt>
                <c:pt idx="15">
                  <c:v>0.24653261746291932</c:v>
                </c:pt>
                <c:pt idx="16">
                  <c:v>0.2564217435741045</c:v>
                </c:pt>
                <c:pt idx="17">
                  <c:v>0.23489972276824345</c:v>
                </c:pt>
                <c:pt idx="18">
                  <c:v>0.22395221305157065</c:v>
                </c:pt>
                <c:pt idx="19">
                  <c:v>0.20028545013767318</c:v>
                </c:pt>
                <c:pt idx="20">
                  <c:v>0.19366472449982164</c:v>
                </c:pt>
                <c:pt idx="21">
                  <c:v>0.1635893789174545</c:v>
                </c:pt>
                <c:pt idx="22">
                  <c:v>0.19132182687093402</c:v>
                </c:pt>
                <c:pt idx="23">
                  <c:v>0.1906807354799449</c:v>
                </c:pt>
                <c:pt idx="24">
                  <c:v>0.18556599180056244</c:v>
                </c:pt>
                <c:pt idx="25">
                  <c:v>0.1856662351816989</c:v>
                </c:pt>
                <c:pt idx="26">
                  <c:v>0.18344223086532196</c:v>
                </c:pt>
                <c:pt idx="27">
                  <c:v>0.17972156955616325</c:v>
                </c:pt>
                <c:pt idx="28">
                  <c:v>0.17792418241997177</c:v>
                </c:pt>
                <c:pt idx="29">
                  <c:v>0.172781463843528</c:v>
                </c:pt>
                <c:pt idx="30">
                  <c:v>0.1986349312110539</c:v>
                </c:pt>
                <c:pt idx="31">
                  <c:v>0.1903287180252563</c:v>
                </c:pt>
                <c:pt idx="32">
                  <c:v>0.1815865626935862</c:v>
                </c:pt>
                <c:pt idx="33">
                  <c:v>0.19877480569636063</c:v>
                </c:pt>
                <c:pt idx="34">
                  <c:v>0.18867819909863703</c:v>
                </c:pt>
                <c:pt idx="35">
                  <c:v>0.19486764507345944</c:v>
                </c:pt>
                <c:pt idx="36">
                  <c:v>0.19357380608437225</c:v>
                </c:pt>
                <c:pt idx="37">
                  <c:v>0.20272392866485378</c:v>
                </c:pt>
                <c:pt idx="38">
                  <c:v>0.17643218791003346</c:v>
                </c:pt>
                <c:pt idx="39">
                  <c:v>0.19245714144334025</c:v>
                </c:pt>
                <c:pt idx="40">
                  <c:v>0.18409497846342004</c:v>
                </c:pt>
                <c:pt idx="41">
                  <c:v>0.17957237010516935</c:v>
                </c:pt>
                <c:pt idx="42">
                  <c:v>0.2323003885829602</c:v>
                </c:pt>
                <c:pt idx="43">
                  <c:v>0.19721520518519065</c:v>
                </c:pt>
                <c:pt idx="44">
                  <c:v>0.23019994006193756</c:v>
                </c:pt>
                <c:pt idx="45">
                  <c:v>0.21928273648374796</c:v>
                </c:pt>
                <c:pt idx="46">
                  <c:v>0.21982358449360062</c:v>
                </c:pt>
                <c:pt idx="47">
                  <c:v>0.17567686568937713</c:v>
                </c:pt>
                <c:pt idx="48">
                  <c:v>0.1851020747576284</c:v>
                </c:pt>
                <c:pt idx="49">
                  <c:v>0.18682486216832295</c:v>
                </c:pt>
                <c:pt idx="50">
                  <c:v>0.1843444212955504</c:v>
                </c:pt>
                <c:pt idx="51">
                  <c:v>0.1773879968929627</c:v>
                </c:pt>
                <c:pt idx="52">
                  <c:v>0.2208630865787814</c:v>
                </c:pt>
                <c:pt idx="53">
                  <c:v>0.2249203376072434</c:v>
                </c:pt>
                <c:pt idx="54">
                  <c:v>0.216429292209800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0"/>
          <c:min val="2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753731343283584"/>
          <c:min val="0.0690394929302779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4485717617265318</c:v>
                </c:pt>
                <c:pt idx="1">
                  <c:v>0.4863371266830323</c:v>
                </c:pt>
                <c:pt idx="2">
                  <c:v>0.46924491857545714</c:v>
                </c:pt>
                <c:pt idx="3">
                  <c:v>0.4432318908967653</c:v>
                </c:pt>
                <c:pt idx="4">
                  <c:v>0.4563728127987783</c:v>
                </c:pt>
                <c:pt idx="5">
                  <c:v>0.44547152298269554</c:v>
                </c:pt>
                <c:pt idx="6">
                  <c:v>0.43291396134860266</c:v>
                </c:pt>
                <c:pt idx="7">
                  <c:v>0.4313980457492232</c:v>
                </c:pt>
                <c:pt idx="8">
                  <c:v>0.42945871542682584</c:v>
                </c:pt>
                <c:pt idx="9">
                  <c:v>0.4237604512193607</c:v>
                </c:pt>
                <c:pt idx="10">
                  <c:v>0.43841301177859765</c:v>
                </c:pt>
                <c:pt idx="11">
                  <c:v>0.4334343120945323</c:v>
                </c:pt>
                <c:pt idx="12">
                  <c:v>0.437624750499002</c:v>
                </c:pt>
                <c:pt idx="13">
                  <c:v>0.4307787516460201</c:v>
                </c:pt>
                <c:pt idx="14">
                  <c:v>0.428293906075925</c:v>
                </c:pt>
                <c:pt idx="15">
                  <c:v>0.4269364609649804</c:v>
                </c:pt>
                <c:pt idx="16">
                  <c:v>0.4184683201638865</c:v>
                </c:pt>
                <c:pt idx="17">
                  <c:v>0.43269764221784984</c:v>
                </c:pt>
                <c:pt idx="18">
                  <c:v>0.420397514600323</c:v>
                </c:pt>
                <c:pt idx="19">
                  <c:v>0.4698027179262824</c:v>
                </c:pt>
                <c:pt idx="20">
                  <c:v>0.46913569621124745</c:v>
                </c:pt>
                <c:pt idx="21">
                  <c:v>0.46126260535113617</c:v>
                </c:pt>
                <c:pt idx="22">
                  <c:v>0.4398396110373951</c:v>
                </c:pt>
                <c:pt idx="23">
                  <c:v>0.43202686164370663</c:v>
                </c:pt>
                <c:pt idx="24">
                  <c:v>0.4204649418136573</c:v>
                </c:pt>
                <c:pt idx="25">
                  <c:v>0.426493006965672</c:v>
                </c:pt>
                <c:pt idx="26">
                  <c:v>0.42233833166996765</c:v>
                </c:pt>
                <c:pt idx="27">
                  <c:v>0.42974085318143407</c:v>
                </c:pt>
                <c:pt idx="28">
                  <c:v>0.42530070896652405</c:v>
                </c:pt>
                <c:pt idx="29">
                  <c:v>0.42678219002797724</c:v>
                </c:pt>
                <c:pt idx="30">
                  <c:v>0.4349040237631671</c:v>
                </c:pt>
                <c:pt idx="31">
                  <c:v>0.42839451597351325</c:v>
                </c:pt>
                <c:pt idx="32">
                  <c:v>0.4287542174969224</c:v>
                </c:pt>
                <c:pt idx="33">
                  <c:v>0.4195381690598</c:v>
                </c:pt>
                <c:pt idx="34">
                  <c:v>0.41944474071051296</c:v>
                </c:pt>
                <c:pt idx="35">
                  <c:v>0.4800986784140969</c:v>
                </c:pt>
                <c:pt idx="36">
                  <c:v>0.48867866254148534</c:v>
                </c:pt>
                <c:pt idx="37">
                  <c:v>0.4929475555236368</c:v>
                </c:pt>
                <c:pt idx="38">
                  <c:v>0.492688148403106</c:v>
                </c:pt>
                <c:pt idx="39">
                  <c:v>0.4565020644095789</c:v>
                </c:pt>
                <c:pt idx="40">
                  <c:v>0.4438143227544695</c:v>
                </c:pt>
                <c:pt idx="41">
                  <c:v>0.436874955228808</c:v>
                </c:pt>
                <c:pt idx="42">
                  <c:v>0.43578535056795925</c:v>
                </c:pt>
                <c:pt idx="43">
                  <c:v>0.44392117379903895</c:v>
                </c:pt>
                <c:pt idx="44">
                  <c:v>0.43117557544348784</c:v>
                </c:pt>
                <c:pt idx="45">
                  <c:v>0.4710195626526189</c:v>
                </c:pt>
                <c:pt idx="46">
                  <c:v>0.4730172791147114</c:v>
                </c:pt>
                <c:pt idx="47">
                  <c:v>0.4713655399857871</c:v>
                </c:pt>
                <c:pt idx="48">
                  <c:v>0.4820333720045579</c:v>
                </c:pt>
                <c:pt idx="49">
                  <c:v>0.48287981878925473</c:v>
                </c:pt>
                <c:pt idx="50">
                  <c:v>0.4817647451168852</c:v>
                </c:pt>
                <c:pt idx="51">
                  <c:v>0.48475465033781195</c:v>
                </c:pt>
                <c:pt idx="52">
                  <c:v>0.5133523394711716</c:v>
                </c:pt>
                <c:pt idx="53">
                  <c:v>0.4537625034413141</c:v>
                </c:pt>
                <c:pt idx="54">
                  <c:v>0.46051097982111994</c:v>
                </c:pt>
                <c:pt idx="55">
                  <c:v>0.46318057977670346</c:v>
                </c:pt>
                <c:pt idx="56">
                  <c:v>0.4704123625810269</c:v>
                </c:pt>
                <c:pt idx="57">
                  <c:v>0.4643164983691699</c:v>
                </c:pt>
                <c:pt idx="58">
                  <c:v>0.4655144501832152</c:v>
                </c:pt>
                <c:pt idx="59">
                  <c:v>0.4493744458674023</c:v>
                </c:pt>
                <c:pt idx="60">
                  <c:v>0.43837178922538317</c:v>
                </c:pt>
                <c:pt idx="61">
                  <c:v>0.4500043689305762</c:v>
                </c:pt>
                <c:pt idx="62">
                  <c:v>0.4550401678040996</c:v>
                </c:pt>
                <c:pt idx="63">
                  <c:v>0.44321486618430517</c:v>
                </c:pt>
                <c:pt idx="64">
                  <c:v>0.4301712265002395</c:v>
                </c:pt>
                <c:pt idx="65">
                  <c:v>0.4347776821255399</c:v>
                </c:pt>
                <c:pt idx="66">
                  <c:v>0.4612584008043605</c:v>
                </c:pt>
                <c:pt idx="67">
                  <c:v>0.46851813071834375</c:v>
                </c:pt>
                <c:pt idx="68">
                  <c:v>0.45815198396458345</c:v>
                </c:pt>
                <c:pt idx="69">
                  <c:v>0.46387863976752153</c:v>
                </c:pt>
                <c:pt idx="70">
                  <c:v>0.4512554741957988</c:v>
                </c:pt>
                <c:pt idx="71">
                  <c:v>0.4941639080298014</c:v>
                </c:pt>
                <c:pt idx="72">
                  <c:v>0.49898706431311335</c:v>
                </c:pt>
                <c:pt idx="73">
                  <c:v>0.49375837552728685</c:v>
                </c:pt>
                <c:pt idx="74">
                  <c:v>0.47376686940160895</c:v>
                </c:pt>
                <c:pt idx="75">
                  <c:v>0.3985655918923221</c:v>
                </c:pt>
                <c:pt idx="76">
                  <c:v>0.42282436512485394</c:v>
                </c:pt>
                <c:pt idx="77">
                  <c:v>0.45478011226118753</c:v>
                </c:pt>
              </c:numCache>
            </c:numRef>
          </c:xVal>
          <c:yVal>
            <c:numRef>
              <c:f>Sheet1!$B$2:$B$79</c:f>
              <c:numCache>
                <c:formatCode>General</c:formatCode>
                <c:ptCount val="78"/>
                <c:pt idx="0">
                  <c:v>0.1346153846153846</c:v>
                </c:pt>
                <c:pt idx="1">
                  <c:v>0.09982014388489209</c:v>
                </c:pt>
                <c:pt idx="2">
                  <c:v>0.1340782122905028</c:v>
                </c:pt>
                <c:pt idx="3">
                  <c:v>0.17294685990338166</c:v>
                </c:pt>
                <c:pt idx="4">
                  <c:v>0.18418514946962392</c:v>
                </c:pt>
                <c:pt idx="5">
                  <c:v>0.2375586854460094</c:v>
                </c:pt>
                <c:pt idx="6">
                  <c:v>0.22705771050141912</c:v>
                </c:pt>
                <c:pt idx="7">
                  <c:v>0.26375908618899274</c:v>
                </c:pt>
                <c:pt idx="8">
                  <c:v>0.20476190476190476</c:v>
                </c:pt>
                <c:pt idx="9">
                  <c:v>0.2907949790794979</c:v>
                </c:pt>
                <c:pt idx="10">
                  <c:v>0.2662857142857143</c:v>
                </c:pt>
                <c:pt idx="11">
                  <c:v>0.2562574493444577</c:v>
                </c:pt>
                <c:pt idx="12">
                  <c:v>0.1788135593220339</c:v>
                </c:pt>
                <c:pt idx="13">
                  <c:v>0.2774907749077491</c:v>
                </c:pt>
                <c:pt idx="14">
                  <c:v>0.34085778781038373</c:v>
                </c:pt>
                <c:pt idx="15">
                  <c:v>0.29282868525896416</c:v>
                </c:pt>
                <c:pt idx="16">
                  <c:v>0.2367736339982654</c:v>
                </c:pt>
                <c:pt idx="17">
                  <c:v>0.2783761391880696</c:v>
                </c:pt>
                <c:pt idx="18">
                  <c:v>0.33143399810066476</c:v>
                </c:pt>
                <c:pt idx="19">
                  <c:v>0.2535885167464115</c:v>
                </c:pt>
                <c:pt idx="20">
                  <c:v>0.2704761904761905</c:v>
                </c:pt>
                <c:pt idx="21">
                  <c:v>0.1774125579435314</c:v>
                </c:pt>
                <c:pt idx="22">
                  <c:v>0.2492732558139535</c:v>
                </c:pt>
                <c:pt idx="23">
                  <c:v>0.2836979534227241</c:v>
                </c:pt>
                <c:pt idx="24">
                  <c:v>0.2413261372397841</c:v>
                </c:pt>
                <c:pt idx="25">
                  <c:v>0.3059958649207443</c:v>
                </c:pt>
                <c:pt idx="26">
                  <c:v>0.19942028985507246</c:v>
                </c:pt>
                <c:pt idx="27">
                  <c:v>0.22108145106091717</c:v>
                </c:pt>
                <c:pt idx="28">
                  <c:v>0.1917241379310345</c:v>
                </c:pt>
                <c:pt idx="29">
                  <c:v>0.23436512950094757</c:v>
                </c:pt>
                <c:pt idx="30">
                  <c:v>0.2111925383077948</c:v>
                </c:pt>
                <c:pt idx="31">
                  <c:v>0.22087842138765118</c:v>
                </c:pt>
                <c:pt idx="32">
                  <c:v>0.228515625</c:v>
                </c:pt>
                <c:pt idx="33">
                  <c:v>0.232</c:v>
                </c:pt>
                <c:pt idx="34">
                  <c:v>0.2828767123287671</c:v>
                </c:pt>
                <c:pt idx="35">
                  <c:v>0.2518628912071535</c:v>
                </c:pt>
                <c:pt idx="36">
                  <c:v>0.19212410501193317</c:v>
                </c:pt>
                <c:pt idx="37">
                  <c:v>0.2514427040395713</c:v>
                </c:pt>
                <c:pt idx="38">
                  <c:v>0.2620830496936692</c:v>
                </c:pt>
                <c:pt idx="39">
                  <c:v>0.20448369565217392</c:v>
                </c:pt>
                <c:pt idx="40">
                  <c:v>0.3203050524308866</c:v>
                </c:pt>
                <c:pt idx="41">
                  <c:v>0.2678386763185109</c:v>
                </c:pt>
                <c:pt idx="42">
                  <c:v>0.27021121631463946</c:v>
                </c:pt>
                <c:pt idx="43">
                  <c:v>0.263249348392702</c:v>
                </c:pt>
                <c:pt idx="44">
                  <c:v>0.3063973063973064</c:v>
                </c:pt>
                <c:pt idx="45">
                  <c:v>0.2118380062305296</c:v>
                </c:pt>
                <c:pt idx="46">
                  <c:v>0.14931237721021612</c:v>
                </c:pt>
                <c:pt idx="47">
                  <c:v>0.14602392681210416</c:v>
                </c:pt>
                <c:pt idx="48">
                  <c:v>0.13108945969884853</c:v>
                </c:pt>
                <c:pt idx="49">
                  <c:v>0.13206447853952225</c:v>
                </c:pt>
                <c:pt idx="50">
                  <c:v>0.12574988463313336</c:v>
                </c:pt>
                <c:pt idx="51">
                  <c:v>0.15718654434250764</c:v>
                </c:pt>
                <c:pt idx="52">
                  <c:v>0.15335986888316552</c:v>
                </c:pt>
                <c:pt idx="53">
                  <c:v>0.2168284789644013</c:v>
                </c:pt>
                <c:pt idx="54">
                  <c:v>0.23340248962655602</c:v>
                </c:pt>
                <c:pt idx="55">
                  <c:v>0.2545235223160434</c:v>
                </c:pt>
                <c:pt idx="56">
                  <c:v>0.26097560975609757</c:v>
                </c:pt>
                <c:pt idx="57">
                  <c:v>0.3202797202797203</c:v>
                </c:pt>
                <c:pt idx="58">
                  <c:v>0.32966023875114786</c:v>
                </c:pt>
                <c:pt idx="59">
                  <c:v>0.31337579617834393</c:v>
                </c:pt>
                <c:pt idx="60">
                  <c:v>0.29093369418132614</c:v>
                </c:pt>
                <c:pt idx="61">
                  <c:v>0.255524861878453</c:v>
                </c:pt>
                <c:pt idx="62">
                  <c:v>0.23266745005875442</c:v>
                </c:pt>
                <c:pt idx="63">
                  <c:v>0.27044025157232704</c:v>
                </c:pt>
                <c:pt idx="64">
                  <c:v>0.21783526208304968</c:v>
                </c:pt>
                <c:pt idx="65">
                  <c:v>0.30779392338177014</c:v>
                </c:pt>
                <c:pt idx="66">
                  <c:v>0.3185011709601874</c:v>
                </c:pt>
                <c:pt idx="67">
                  <c:v>0.29106945975744214</c:v>
                </c:pt>
                <c:pt idx="68">
                  <c:v>0.2980132450331126</c:v>
                </c:pt>
                <c:pt idx="69">
                  <c:v>0.2976303317535545</c:v>
                </c:pt>
                <c:pt idx="70">
                  <c:v>0.2739602169981917</c:v>
                </c:pt>
                <c:pt idx="71">
                  <c:v>0.23939986953685582</c:v>
                </c:pt>
                <c:pt idx="72">
                  <c:v>0.20634920634920634</c:v>
                </c:pt>
                <c:pt idx="73">
                  <c:v>0.18951612903225806</c:v>
                </c:pt>
                <c:pt idx="74">
                  <c:v>0.21875</c:v>
                </c:pt>
                <c:pt idx="75">
                  <c:v>0.4549125168236878</c:v>
                </c:pt>
                <c:pt idx="76">
                  <c:v>0.3175735950044603</c:v>
                </c:pt>
                <c:pt idx="77">
                  <c:v>0.3402684563758389</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29609730320811</c:v>
                </c:pt>
                <c:pt idx="1">
                  <c:v>0.42241273085187914</c:v>
                </c:pt>
                <c:pt idx="2">
                  <c:v>0.42165669262923644</c:v>
                </c:pt>
                <c:pt idx="3">
                  <c:v>0.41479826691024474</c:v>
                </c:pt>
                <c:pt idx="4">
                  <c:v>0.4394470519768119</c:v>
                </c:pt>
                <c:pt idx="5">
                  <c:v>0.4243934138863083</c:v>
                </c:pt>
                <c:pt idx="6">
                  <c:v>0.4035796931477063</c:v>
                </c:pt>
                <c:pt idx="7">
                  <c:v>0.4254924705500452</c:v>
                </c:pt>
                <c:pt idx="8">
                  <c:v>0.39965084072730866</c:v>
                </c:pt>
                <c:pt idx="9">
                  <c:v>0.4473861314925157</c:v>
                </c:pt>
                <c:pt idx="10">
                  <c:v>0.5175961395972332</c:v>
                </c:pt>
                <c:pt idx="11">
                  <c:v>0.5081583289774416</c:v>
                </c:pt>
                <c:pt idx="12">
                  <c:v>0.5099710833419395</c:v>
                </c:pt>
                <c:pt idx="13">
                  <c:v>0.5030877037995791</c:v>
                </c:pt>
                <c:pt idx="14">
                  <c:v>0.44440802360070675</c:v>
                </c:pt>
                <c:pt idx="15">
                  <c:v>0.3949357515331446</c:v>
                </c:pt>
                <c:pt idx="16">
                  <c:v>0.41975397788899976</c:v>
                </c:pt>
                <c:pt idx="17">
                  <c:v>0.41192975427749684</c:v>
                </c:pt>
                <c:pt idx="18">
                  <c:v>0.43559387233272234</c:v>
                </c:pt>
                <c:pt idx="19">
                  <c:v>0.44573703794692343</c:v>
                </c:pt>
                <c:pt idx="20">
                  <c:v>0.4922861358884096</c:v>
                </c:pt>
                <c:pt idx="21">
                  <c:v>0.5513628658644827</c:v>
                </c:pt>
                <c:pt idx="22">
                  <c:v>0.5304692805939091</c:v>
                </c:pt>
                <c:pt idx="23">
                  <c:v>0.5189878494503655</c:v>
                </c:pt>
                <c:pt idx="24">
                  <c:v>0.5197526974057812</c:v>
                </c:pt>
                <c:pt idx="25">
                  <c:v>0.5238077253218885</c:v>
                </c:pt>
                <c:pt idx="26">
                  <c:v>0.5135771292109002</c:v>
                </c:pt>
                <c:pt idx="27">
                  <c:v>0.491714456545499</c:v>
                </c:pt>
                <c:pt idx="28">
                  <c:v>0.4466139699085808</c:v>
                </c:pt>
                <c:pt idx="29">
                  <c:v>0.442859959061285</c:v>
                </c:pt>
                <c:pt idx="30">
                  <c:v>0.44488389082432994</c:v>
                </c:pt>
                <c:pt idx="31">
                  <c:v>0.4397291209560711</c:v>
                </c:pt>
                <c:pt idx="32">
                  <c:v>0.4397721244886244</c:v>
                </c:pt>
                <c:pt idx="33">
                  <c:v>0.44161492537313435</c:v>
                </c:pt>
                <c:pt idx="34">
                  <c:v>0.445735426785917</c:v>
                </c:pt>
                <c:pt idx="35">
                  <c:v>0.4445089012719093</c:v>
                </c:pt>
                <c:pt idx="36">
                  <c:v>0.446314296379246</c:v>
                </c:pt>
                <c:pt idx="37">
                  <c:v>0.44459792871230697</c:v>
                </c:pt>
                <c:pt idx="38">
                  <c:v>0.4545240068300249</c:v>
                </c:pt>
                <c:pt idx="39">
                  <c:v>0.4419690461864735</c:v>
                </c:pt>
                <c:pt idx="40">
                  <c:v>0.447243735763098</c:v>
                </c:pt>
                <c:pt idx="41">
                  <c:v>0.45108487185815344</c:v>
                </c:pt>
                <c:pt idx="42">
                  <c:v>0.41189877650634044</c:v>
                </c:pt>
                <c:pt idx="43">
                  <c:v>0.41544450028688457</c:v>
                </c:pt>
                <c:pt idx="44">
                  <c:v>0.4200404525176606</c:v>
                </c:pt>
                <c:pt idx="45">
                  <c:v>0.4319911384570686</c:v>
                </c:pt>
                <c:pt idx="46">
                  <c:v>0.4864</c:v>
                </c:pt>
                <c:pt idx="47">
                  <c:v>0.5032413052940766</c:v>
                </c:pt>
                <c:pt idx="48">
                  <c:v>0.4976744032181231</c:v>
                </c:pt>
                <c:pt idx="49">
                  <c:v>0.46546750014308935</c:v>
                </c:pt>
                <c:pt idx="50">
                  <c:v>0.45151515151515154</c:v>
                </c:pt>
                <c:pt idx="51">
                  <c:v>0.4619464012821946</c:v>
                </c:pt>
              </c:numCache>
            </c:numRef>
          </c:xVal>
          <c:yVal>
            <c:numRef>
              <c:f>Sheet1!$B$82:$B$133</c:f>
              <c:numCache>
                <c:formatCode>General</c:formatCode>
                <c:ptCount val="52"/>
                <c:pt idx="0">
                  <c:v>0.2202517162471396</c:v>
                </c:pt>
                <c:pt idx="1">
                  <c:v>0.26047904191616766</c:v>
                </c:pt>
                <c:pt idx="2">
                  <c:v>0.266078184110971</c:v>
                </c:pt>
                <c:pt idx="3">
                  <c:v>0.27419354838709675</c:v>
                </c:pt>
                <c:pt idx="4">
                  <c:v>0.21813031161473087</c:v>
                </c:pt>
                <c:pt idx="5">
                  <c:v>0.2723521320495186</c:v>
                </c:pt>
                <c:pt idx="6">
                  <c:v>0.2715654952076677</c:v>
                </c:pt>
                <c:pt idx="7">
                  <c:v>0.2969046114971573</c:v>
                </c:pt>
                <c:pt idx="8">
                  <c:v>0.34814814814814815</c:v>
                </c:pt>
                <c:pt idx="9">
                  <c:v>0.23218221895664953</c:v>
                </c:pt>
                <c:pt idx="10">
                  <c:v>0.22678951098511693</c:v>
                </c:pt>
                <c:pt idx="11">
                  <c:v>0.24297520661157024</c:v>
                </c:pt>
                <c:pt idx="12">
                  <c:v>0.2329004329004329</c:v>
                </c:pt>
                <c:pt idx="13">
                  <c:v>0.19119878603945373</c:v>
                </c:pt>
                <c:pt idx="14">
                  <c:v>0.21835443037974683</c:v>
                </c:pt>
                <c:pt idx="15">
                  <c:v>0.2928</c:v>
                </c:pt>
                <c:pt idx="16">
                  <c:v>0.3058823529411765</c:v>
                </c:pt>
                <c:pt idx="17">
                  <c:v>0.2833690221270521</c:v>
                </c:pt>
                <c:pt idx="18">
                  <c:v>0.336472602739726</c:v>
                </c:pt>
                <c:pt idx="19">
                  <c:v>0.3333333333333333</c:v>
                </c:pt>
                <c:pt idx="20">
                  <c:v>0.21166448230668414</c:v>
                </c:pt>
                <c:pt idx="21">
                  <c:v>0.20520113774888257</c:v>
                </c:pt>
                <c:pt idx="22">
                  <c:v>0.14161281258780556</c:v>
                </c:pt>
                <c:pt idx="23">
                  <c:v>0.11651162790697675</c:v>
                </c:pt>
                <c:pt idx="24">
                  <c:v>0.13910686260522187</c:v>
                </c:pt>
                <c:pt idx="25">
                  <c:v>0.1310464444016188</c:v>
                </c:pt>
                <c:pt idx="26">
                  <c:v>0.13283740701381508</c:v>
                </c:pt>
                <c:pt idx="27">
                  <c:v>0.1934931506849315</c:v>
                </c:pt>
                <c:pt idx="28">
                  <c:v>0.31835205992509363</c:v>
                </c:pt>
                <c:pt idx="29">
                  <c:v>0.36629526462395545</c:v>
                </c:pt>
                <c:pt idx="30">
                  <c:v>0.35864297253634897</c:v>
                </c:pt>
                <c:pt idx="31">
                  <c:v>0.3343558282208589</c:v>
                </c:pt>
                <c:pt idx="32">
                  <c:v>0.19797421731123388</c:v>
                </c:pt>
                <c:pt idx="33">
                  <c:v>0.30402384500745155</c:v>
                </c:pt>
                <c:pt idx="34">
                  <c:v>0.2976588628762542</c:v>
                </c:pt>
                <c:pt idx="35">
                  <c:v>0.2527881040892193</c:v>
                </c:pt>
                <c:pt idx="36">
                  <c:v>0.22616136919315402</c:v>
                </c:pt>
                <c:pt idx="37">
                  <c:v>0.23578947368421052</c:v>
                </c:pt>
                <c:pt idx="38">
                  <c:v>0.24539877300613497</c:v>
                </c:pt>
                <c:pt idx="39">
                  <c:v>0.2769058295964126</c:v>
                </c:pt>
                <c:pt idx="40">
                  <c:v>0.28936170212765955</c:v>
                </c:pt>
                <c:pt idx="41">
                  <c:v>0.24806201550387597</c:v>
                </c:pt>
                <c:pt idx="42">
                  <c:v>0.33086190917516217</c:v>
                </c:pt>
                <c:pt idx="43">
                  <c:v>0.37089201877934275</c:v>
                </c:pt>
                <c:pt idx="44">
                  <c:v>0.3463740458015267</c:v>
                </c:pt>
                <c:pt idx="45">
                  <c:v>0.36115992970123023</c:v>
                </c:pt>
                <c:pt idx="46">
                  <c:v>0.17916390179163902</c:v>
                </c:pt>
                <c:pt idx="47">
                  <c:v>0.22330097087378642</c:v>
                </c:pt>
                <c:pt idx="48">
                  <c:v>0.2001308044473512</c:v>
                </c:pt>
                <c:pt idx="49">
                  <c:v>0.19473684210526315</c:v>
                </c:pt>
                <c:pt idx="50">
                  <c:v>0.34334763948497854</c:v>
                </c:pt>
                <c:pt idx="51">
                  <c:v>0.22015915119363394</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43009116267355957</c:v>
                </c:pt>
              </c:numCache>
            </c:numRef>
          </c:xVal>
          <c:yVal>
            <c:numRef>
              <c:f>Sheet1!$B$136:$B$137</c:f>
              <c:numCache>
                <c:formatCode>General</c:formatCode>
                <c:ptCount val="2"/>
                <c:pt idx="0">
                  <c:v>0.2887490862312743</c:v>
                </c:pt>
                <c:pt idx="1">
                  <c:v>0.2887490862312743</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43009116267355957</c:v>
                </c:pt>
                <c:pt idx="1">
                  <c:v>0.43009116267355957</c:v>
                </c:pt>
              </c:numCache>
            </c:numRef>
          </c:xVal>
          <c:yVal>
            <c:numRef>
              <c:f>Sheet1!$B$140:$B$141</c:f>
              <c:numCache>
                <c:formatCode>General</c:formatCode>
                <c:ptCount val="2"/>
                <c:pt idx="0">
                  <c:v>0.288749086231274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4406320958278774</c:v>
                </c:pt>
              </c:numCache>
            </c:numRef>
          </c:xVal>
          <c:yVal>
            <c:numRef>
              <c:f>Sheet1!$B$144:$B$145</c:f>
              <c:numCache>
                <c:formatCode>General</c:formatCode>
                <c:ptCount val="2"/>
                <c:pt idx="0">
                  <c:v>0.27572744312168174</c:v>
                </c:pt>
                <c:pt idx="1">
                  <c:v>0.27572744312168174</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406320958278774</c:v>
                </c:pt>
                <c:pt idx="1">
                  <c:v>0.4406320958278774</c:v>
                </c:pt>
              </c:numCache>
            </c:numRef>
          </c:xVal>
          <c:yVal>
            <c:numRef>
              <c:f>Sheet1!$B$148:$B$149</c:f>
              <c:numCache>
                <c:formatCode>General</c:formatCode>
                <c:ptCount val="2"/>
                <c:pt idx="0">
                  <c:v>0.27572744312168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44063209582787743</c:v>
                </c:pt>
              </c:numCache>
            </c:numRef>
          </c:xVal>
          <c:yVal>
            <c:numRef>
              <c:f>Sheet1!$B$152:$B$153</c:f>
              <c:numCache>
                <c:formatCode>General</c:formatCode>
                <c:ptCount val="2"/>
                <c:pt idx="0">
                  <c:v>0.2757274431216816</c:v>
                </c:pt>
                <c:pt idx="1">
                  <c:v>0.2757274431216816</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4063209582787743</c:v>
                </c:pt>
                <c:pt idx="1">
                  <c:v>0.44063209582787743</c:v>
                </c:pt>
              </c:numCache>
            </c:numRef>
          </c:xVal>
          <c:yVal>
            <c:numRef>
              <c:f>Sheet1!$B$156:$B$157</c:f>
              <c:numCache>
                <c:formatCode>General</c:formatCode>
                <c:ptCount val="2"/>
                <c:pt idx="0">
                  <c:v>0.27572744312168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29609730320811</c:v>
                </c:pt>
                <c:pt idx="1">
                  <c:v>0.42241273085187914</c:v>
                </c:pt>
                <c:pt idx="2">
                  <c:v>0.42165669262923644</c:v>
                </c:pt>
                <c:pt idx="3">
                  <c:v>0.41479826691024474</c:v>
                </c:pt>
                <c:pt idx="4">
                  <c:v>0.4394470519768119</c:v>
                </c:pt>
                <c:pt idx="5">
                  <c:v>0.4243934138863083</c:v>
                </c:pt>
                <c:pt idx="6">
                  <c:v>0.4035796931477063</c:v>
                </c:pt>
                <c:pt idx="7">
                  <c:v>0.4254924705500452</c:v>
                </c:pt>
                <c:pt idx="8">
                  <c:v>0.39965084072730866</c:v>
                </c:pt>
                <c:pt idx="9">
                  <c:v>0.4473861314925157</c:v>
                </c:pt>
                <c:pt idx="10">
                  <c:v>0.5175961395972332</c:v>
                </c:pt>
                <c:pt idx="11">
                  <c:v>0.5081583289774416</c:v>
                </c:pt>
                <c:pt idx="12">
                  <c:v>0.5099710833419395</c:v>
                </c:pt>
                <c:pt idx="13">
                  <c:v>0.5030877037995791</c:v>
                </c:pt>
                <c:pt idx="14">
                  <c:v>0.44440802360070675</c:v>
                </c:pt>
                <c:pt idx="15">
                  <c:v>0.3949357515331446</c:v>
                </c:pt>
                <c:pt idx="16">
                  <c:v>0.41975397788899976</c:v>
                </c:pt>
                <c:pt idx="17">
                  <c:v>0.41192975427749684</c:v>
                </c:pt>
                <c:pt idx="18">
                  <c:v>0.43559387233272234</c:v>
                </c:pt>
                <c:pt idx="19">
                  <c:v>0.44573703794692343</c:v>
                </c:pt>
                <c:pt idx="20">
                  <c:v>0.4922861358884096</c:v>
                </c:pt>
                <c:pt idx="21">
                  <c:v>0.5513628658644827</c:v>
                </c:pt>
                <c:pt idx="22">
                  <c:v>0.5304692805939091</c:v>
                </c:pt>
                <c:pt idx="23">
                  <c:v>0.5189878494503655</c:v>
                </c:pt>
                <c:pt idx="24">
                  <c:v>0.5197526974057812</c:v>
                </c:pt>
                <c:pt idx="25">
                  <c:v>0.5238077253218885</c:v>
                </c:pt>
                <c:pt idx="26">
                  <c:v>0.5135771292109002</c:v>
                </c:pt>
                <c:pt idx="27">
                  <c:v>0.491714456545499</c:v>
                </c:pt>
                <c:pt idx="28">
                  <c:v>0.4466139699085808</c:v>
                </c:pt>
                <c:pt idx="29">
                  <c:v>0.442859959061285</c:v>
                </c:pt>
                <c:pt idx="30">
                  <c:v>0.44488389082432994</c:v>
                </c:pt>
                <c:pt idx="31">
                  <c:v>0.4397291209560711</c:v>
                </c:pt>
                <c:pt idx="32">
                  <c:v>0.4397721244886244</c:v>
                </c:pt>
                <c:pt idx="33">
                  <c:v>0.44161492537313435</c:v>
                </c:pt>
                <c:pt idx="34">
                  <c:v>0.445735426785917</c:v>
                </c:pt>
                <c:pt idx="35">
                  <c:v>0.4445089012719093</c:v>
                </c:pt>
                <c:pt idx="36">
                  <c:v>0.446314296379246</c:v>
                </c:pt>
                <c:pt idx="37">
                  <c:v>0.44459792871230697</c:v>
                </c:pt>
                <c:pt idx="38">
                  <c:v>0.4545240068300249</c:v>
                </c:pt>
                <c:pt idx="39">
                  <c:v>0.4419690461864735</c:v>
                </c:pt>
                <c:pt idx="40">
                  <c:v>0.447243735763098</c:v>
                </c:pt>
                <c:pt idx="41">
                  <c:v>0.45108487185815344</c:v>
                </c:pt>
                <c:pt idx="42">
                  <c:v>0.41189877650634044</c:v>
                </c:pt>
                <c:pt idx="43">
                  <c:v>0.41544450028688457</c:v>
                </c:pt>
                <c:pt idx="44">
                  <c:v>0.4200404525176606</c:v>
                </c:pt>
                <c:pt idx="45">
                  <c:v>0.4319911384570686</c:v>
                </c:pt>
                <c:pt idx="46">
                  <c:v>0.4864</c:v>
                </c:pt>
                <c:pt idx="47">
                  <c:v>0.5032413052940766</c:v>
                </c:pt>
                <c:pt idx="48">
                  <c:v>0.4976744032181231</c:v>
                </c:pt>
                <c:pt idx="49">
                  <c:v>0.46546750014308935</c:v>
                </c:pt>
                <c:pt idx="50">
                  <c:v>0.45151515151515154</c:v>
                </c:pt>
                <c:pt idx="51">
                  <c:v>0.4619464012821946</c:v>
                </c:pt>
                <c:pt idx="52">
                  <c:v>0.4406320958278774</c:v>
                </c:pt>
                <c:pt idx="53">
                  <c:v>0.43009116267355957</c:v>
                </c:pt>
                <c:pt idx="54">
                  <c:v>0.44063209582787743</c:v>
                </c:pt>
              </c:numCache>
            </c:numRef>
          </c:xVal>
          <c:yVal>
            <c:numRef>
              <c:f>Sheet1!$B$160:$B$214</c:f>
              <c:numCache>
                <c:formatCode>General</c:formatCode>
                <c:ptCount val="55"/>
                <c:pt idx="0">
                  <c:v>0.2893438191820601</c:v>
                </c:pt>
                <c:pt idx="1">
                  <c:v>0.29823456511245894</c:v>
                </c:pt>
                <c:pt idx="2">
                  <c:v>0.29916852985432163</c:v>
                </c:pt>
                <c:pt idx="3">
                  <c:v>0.3076410218717649</c:v>
                </c:pt>
                <c:pt idx="4">
                  <c:v>0.27719137595114574</c:v>
                </c:pt>
                <c:pt idx="5">
                  <c:v>0.29578774686496856</c:v>
                </c:pt>
                <c:pt idx="6">
                  <c:v>0.32149978196404144</c:v>
                </c:pt>
                <c:pt idx="7">
                  <c:v>0.29443003750253527</c:v>
                </c:pt>
                <c:pt idx="8">
                  <c:v>0.32635325302772245</c:v>
                </c:pt>
                <c:pt idx="9">
                  <c:v>0.2673839083807983</c:v>
                </c:pt>
                <c:pt idx="10">
                  <c:v>0.1806506320307122</c:v>
                </c:pt>
                <c:pt idx="11">
                  <c:v>0.19230954304244807</c:v>
                </c:pt>
                <c:pt idx="12">
                  <c:v>0.19007017390555359</c:v>
                </c:pt>
                <c:pt idx="13">
                  <c:v>0.19857349239512878</c:v>
                </c:pt>
                <c:pt idx="14">
                  <c:v>0.2710628860900074</c:v>
                </c:pt>
                <c:pt idx="15">
                  <c:v>0.33217799433073986</c:v>
                </c:pt>
                <c:pt idx="16">
                  <c:v>0.3015190306993606</c:v>
                </c:pt>
                <c:pt idx="17">
                  <c:v>0.3111846121034988</c:v>
                </c:pt>
                <c:pt idx="18">
                  <c:v>0.28195136535890786</c:v>
                </c:pt>
                <c:pt idx="19">
                  <c:v>0.2694211006569147</c:v>
                </c:pt>
                <c:pt idx="20">
                  <c:v>0.21191710821207022</c:v>
                </c:pt>
                <c:pt idx="21">
                  <c:v>0.13893722279129228</c:v>
                </c:pt>
                <c:pt idx="22">
                  <c:v>0.16474791779240838</c:v>
                </c:pt>
                <c:pt idx="23">
                  <c:v>0.17893139628997812</c:v>
                </c:pt>
                <c:pt idx="24">
                  <c:v>0.17798654852719287</c:v>
                </c:pt>
                <c:pt idx="25">
                  <c:v>0.1729772077458832</c:v>
                </c:pt>
                <c:pt idx="26">
                  <c:v>0.18561547889373753</c:v>
                </c:pt>
                <c:pt idx="27">
                  <c:v>0.21262332693744546</c:v>
                </c:pt>
                <c:pt idx="28">
                  <c:v>0.2683377909661194</c:v>
                </c:pt>
                <c:pt idx="29">
                  <c:v>0.2729752731289773</c:v>
                </c:pt>
                <c:pt idx="30">
                  <c:v>0.27047502796939726</c:v>
                </c:pt>
                <c:pt idx="31">
                  <c:v>0.27684292467776916</c:v>
                </c:pt>
                <c:pt idx="32">
                  <c:v>0.2767898006663402</c:v>
                </c:pt>
                <c:pt idx="33">
                  <c:v>0.2745133138421827</c:v>
                </c:pt>
                <c:pt idx="34">
                  <c:v>0.2694230909895836</c:v>
                </c:pt>
                <c:pt idx="35">
                  <c:v>0.27093826780309715</c:v>
                </c:pt>
                <c:pt idx="36">
                  <c:v>0.26870798985565436</c:v>
                </c:pt>
                <c:pt idx="37">
                  <c:v>0.2708282885878941</c:v>
                </c:pt>
                <c:pt idx="38">
                  <c:v>0.2585662008927536</c:v>
                </c:pt>
                <c:pt idx="39">
                  <c:v>0.2740758540099768</c:v>
                </c:pt>
                <c:pt idx="40">
                  <c:v>0.2675598156123178</c:v>
                </c:pt>
                <c:pt idx="41">
                  <c:v>0.26281470409012797</c:v>
                </c:pt>
                <c:pt idx="42">
                  <c:v>0.3112228802031465</c:v>
                </c:pt>
                <c:pt idx="43">
                  <c:v>0.3068427035186442</c:v>
                </c:pt>
                <c:pt idx="44">
                  <c:v>0.3011651369482322</c:v>
                </c:pt>
                <c:pt idx="45">
                  <c:v>0.2864019689307923</c:v>
                </c:pt>
                <c:pt idx="46">
                  <c:v>0.21918849108788685</c:v>
                </c:pt>
                <c:pt idx="47">
                  <c:v>0.1983837422266035</c:v>
                </c:pt>
                <c:pt idx="48">
                  <c:v>0.20526076260021453</c:v>
                </c:pt>
                <c:pt idx="49">
                  <c:v>0.2450472588589958</c:v>
                </c:pt>
                <c:pt idx="50">
                  <c:v>0.26228316214325087</c:v>
                </c:pt>
                <c:pt idx="51">
                  <c:v>0.24939701537949732</c:v>
                </c:pt>
                <c:pt idx="52">
                  <c:v>0.27572744312168174</c:v>
                </c:pt>
                <c:pt idx="53">
                  <c:v>0.28874908623127427</c:v>
                </c:pt>
                <c:pt idx="54">
                  <c:v>0.275727443121681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utz</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458950201884253"/>
          <c:min val="0.0798561151079136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27.3134</c:v>
                </c:pt>
                <c:pt idx="1">
                  <c:v>29.2613</c:v>
                </c:pt>
                <c:pt idx="2">
                  <c:v>28.5208</c:v>
                </c:pt>
                <c:pt idx="3">
                  <c:v>26.676</c:v>
                </c:pt>
                <c:pt idx="4">
                  <c:v>27.733</c:v>
                </c:pt>
                <c:pt idx="5">
                  <c:v>27.9802</c:v>
                </c:pt>
                <c:pt idx="6">
                  <c:v>28.3708</c:v>
                </c:pt>
                <c:pt idx="7">
                  <c:v>27.6024</c:v>
                </c:pt>
                <c:pt idx="8">
                  <c:v>27.893</c:v>
                </c:pt>
                <c:pt idx="9">
                  <c:v>27.2878</c:v>
                </c:pt>
                <c:pt idx="10">
                  <c:v>28.2918</c:v>
                </c:pt>
                <c:pt idx="11">
                  <c:v>27.8</c:v>
                </c:pt>
                <c:pt idx="12">
                  <c:v>28.1517</c:v>
                </c:pt>
                <c:pt idx="13">
                  <c:v>27.7739</c:v>
                </c:pt>
                <c:pt idx="14">
                  <c:v>27.6026</c:v>
                </c:pt>
                <c:pt idx="15">
                  <c:v>27.2245</c:v>
                </c:pt>
                <c:pt idx="16">
                  <c:v>27.4542</c:v>
                </c:pt>
                <c:pt idx="17">
                  <c:v>27.6875</c:v>
                </c:pt>
                <c:pt idx="18">
                  <c:v>27.0229</c:v>
                </c:pt>
                <c:pt idx="19">
                  <c:v>27.4906</c:v>
                </c:pt>
                <c:pt idx="20">
                  <c:v>27.2535</c:v>
                </c:pt>
                <c:pt idx="21">
                  <c:v>26.9596</c:v>
                </c:pt>
                <c:pt idx="22">
                  <c:v>27.2478</c:v>
                </c:pt>
                <c:pt idx="23">
                  <c:v>27.5348</c:v>
                </c:pt>
                <c:pt idx="24">
                  <c:v>27.5751</c:v>
                </c:pt>
                <c:pt idx="25">
                  <c:v>27.277</c:v>
                </c:pt>
                <c:pt idx="26">
                  <c:v>27.3372</c:v>
                </c:pt>
                <c:pt idx="27">
                  <c:v>27.4613</c:v>
                </c:pt>
                <c:pt idx="28">
                  <c:v>27.3849</c:v>
                </c:pt>
                <c:pt idx="29">
                  <c:v>27.5499</c:v>
                </c:pt>
                <c:pt idx="30">
                  <c:v>27.877</c:v>
                </c:pt>
                <c:pt idx="31">
                  <c:v>27.8127</c:v>
                </c:pt>
                <c:pt idx="32">
                  <c:v>27.4103</c:v>
                </c:pt>
                <c:pt idx="33">
                  <c:v>27.1437</c:v>
                </c:pt>
                <c:pt idx="34">
                  <c:v>27.1356</c:v>
                </c:pt>
                <c:pt idx="35">
                  <c:v>27.2456</c:v>
                </c:pt>
                <c:pt idx="36">
                  <c:v>27.3727</c:v>
                </c:pt>
                <c:pt idx="37">
                  <c:v>27.4557</c:v>
                </c:pt>
                <c:pt idx="38">
                  <c:v>27.3403</c:v>
                </c:pt>
                <c:pt idx="39">
                  <c:v>27.6412</c:v>
                </c:pt>
                <c:pt idx="40">
                  <c:v>28.4315</c:v>
                </c:pt>
                <c:pt idx="41">
                  <c:v>28.0541</c:v>
                </c:pt>
                <c:pt idx="42">
                  <c:v>27.814</c:v>
                </c:pt>
                <c:pt idx="43">
                  <c:v>28.3069</c:v>
                </c:pt>
                <c:pt idx="44">
                  <c:v>28.3626</c:v>
                </c:pt>
                <c:pt idx="45">
                  <c:v>27.4676</c:v>
                </c:pt>
                <c:pt idx="46">
                  <c:v>27.3395</c:v>
                </c:pt>
                <c:pt idx="47">
                  <c:v>27.3277</c:v>
                </c:pt>
                <c:pt idx="48">
                  <c:v>28.0045</c:v>
                </c:pt>
                <c:pt idx="49">
                  <c:v>28.0544</c:v>
                </c:pt>
                <c:pt idx="50">
                  <c:v>28.1697</c:v>
                </c:pt>
                <c:pt idx="51">
                  <c:v>28.4916</c:v>
                </c:pt>
                <c:pt idx="52">
                  <c:v>30.8092</c:v>
                </c:pt>
                <c:pt idx="53">
                  <c:v>29.6679</c:v>
                </c:pt>
                <c:pt idx="54">
                  <c:v>29.7911</c:v>
                </c:pt>
                <c:pt idx="55">
                  <c:v>29.8531</c:v>
                </c:pt>
                <c:pt idx="56">
                  <c:v>30.0514</c:v>
                </c:pt>
                <c:pt idx="57">
                  <c:v>29.6812</c:v>
                </c:pt>
                <c:pt idx="58">
                  <c:v>29.9053</c:v>
                </c:pt>
                <c:pt idx="59">
                  <c:v>29.6504</c:v>
                </c:pt>
                <c:pt idx="60">
                  <c:v>29.3628</c:v>
                </c:pt>
                <c:pt idx="61">
                  <c:v>29.8703</c:v>
                </c:pt>
                <c:pt idx="62">
                  <c:v>30.1111</c:v>
                </c:pt>
                <c:pt idx="63">
                  <c:v>29.6419</c:v>
                </c:pt>
                <c:pt idx="64">
                  <c:v>30.2656</c:v>
                </c:pt>
                <c:pt idx="65">
                  <c:v>29.5451</c:v>
                </c:pt>
                <c:pt idx="66">
                  <c:v>30.5074</c:v>
                </c:pt>
                <c:pt idx="67">
                  <c:v>31.0985</c:v>
                </c:pt>
                <c:pt idx="68">
                  <c:v>30.6741</c:v>
                </c:pt>
                <c:pt idx="69">
                  <c:v>31.0159</c:v>
                </c:pt>
                <c:pt idx="70">
                  <c:v>30.7888</c:v>
                </c:pt>
                <c:pt idx="71">
                  <c:v>30.1989</c:v>
                </c:pt>
                <c:pt idx="72">
                  <c:v>30.0495</c:v>
                </c:pt>
                <c:pt idx="73">
                  <c:v>29.9184</c:v>
                </c:pt>
                <c:pt idx="74">
                  <c:v>30.3171</c:v>
                </c:pt>
                <c:pt idx="75">
                  <c:v>27.0414</c:v>
                </c:pt>
                <c:pt idx="76">
                  <c:v>28.1067</c:v>
                </c:pt>
                <c:pt idx="77">
                  <c:v>28.2604</c:v>
                </c:pt>
              </c:numCache>
            </c:numRef>
          </c:xVal>
          <c:yVal>
            <c:numRef>
              <c:f>Sheet1!$B$2:$B$79</c:f>
              <c:numCache>
                <c:formatCode>General</c:formatCode>
                <c:ptCount val="78"/>
                <c:pt idx="0">
                  <c:v>0.1346153846153846</c:v>
                </c:pt>
                <c:pt idx="1">
                  <c:v>0.09982014388489209</c:v>
                </c:pt>
                <c:pt idx="2">
                  <c:v>0.1340782122905028</c:v>
                </c:pt>
                <c:pt idx="3">
                  <c:v>0.17294685990338166</c:v>
                </c:pt>
                <c:pt idx="4">
                  <c:v>0.18418514946962392</c:v>
                </c:pt>
                <c:pt idx="5">
                  <c:v>0.2375586854460094</c:v>
                </c:pt>
                <c:pt idx="6">
                  <c:v>0.22705771050141912</c:v>
                </c:pt>
                <c:pt idx="7">
                  <c:v>0.26375908618899274</c:v>
                </c:pt>
                <c:pt idx="8">
                  <c:v>0.20476190476190476</c:v>
                </c:pt>
                <c:pt idx="9">
                  <c:v>0.2907949790794979</c:v>
                </c:pt>
                <c:pt idx="10">
                  <c:v>0.2662857142857143</c:v>
                </c:pt>
                <c:pt idx="11">
                  <c:v>0.2562574493444577</c:v>
                </c:pt>
                <c:pt idx="12">
                  <c:v>0.1788135593220339</c:v>
                </c:pt>
                <c:pt idx="13">
                  <c:v>0.2774907749077491</c:v>
                </c:pt>
                <c:pt idx="14">
                  <c:v>0.34085778781038373</c:v>
                </c:pt>
                <c:pt idx="15">
                  <c:v>0.29282868525896416</c:v>
                </c:pt>
                <c:pt idx="16">
                  <c:v>0.2367736339982654</c:v>
                </c:pt>
                <c:pt idx="17">
                  <c:v>0.2783761391880696</c:v>
                </c:pt>
                <c:pt idx="18">
                  <c:v>0.33143399810066476</c:v>
                </c:pt>
                <c:pt idx="19">
                  <c:v>0.2535885167464115</c:v>
                </c:pt>
                <c:pt idx="20">
                  <c:v>0.2704761904761905</c:v>
                </c:pt>
                <c:pt idx="21">
                  <c:v>0.1774125579435314</c:v>
                </c:pt>
                <c:pt idx="22">
                  <c:v>0.2492732558139535</c:v>
                </c:pt>
                <c:pt idx="23">
                  <c:v>0.2836979534227241</c:v>
                </c:pt>
                <c:pt idx="24">
                  <c:v>0.2413261372397841</c:v>
                </c:pt>
                <c:pt idx="25">
                  <c:v>0.3059958649207443</c:v>
                </c:pt>
                <c:pt idx="26">
                  <c:v>0.19942028985507246</c:v>
                </c:pt>
                <c:pt idx="27">
                  <c:v>0.22108145106091717</c:v>
                </c:pt>
                <c:pt idx="28">
                  <c:v>0.1917241379310345</c:v>
                </c:pt>
                <c:pt idx="29">
                  <c:v>0.23436512950094757</c:v>
                </c:pt>
                <c:pt idx="30">
                  <c:v>0.2111925383077948</c:v>
                </c:pt>
                <c:pt idx="31">
                  <c:v>0.22087842138765118</c:v>
                </c:pt>
                <c:pt idx="32">
                  <c:v>0.228515625</c:v>
                </c:pt>
                <c:pt idx="33">
                  <c:v>0.232</c:v>
                </c:pt>
                <c:pt idx="34">
                  <c:v>0.2828767123287671</c:v>
                </c:pt>
                <c:pt idx="35">
                  <c:v>0.2518628912071535</c:v>
                </c:pt>
                <c:pt idx="36">
                  <c:v>0.19212410501193317</c:v>
                </c:pt>
                <c:pt idx="37">
                  <c:v>0.2514427040395713</c:v>
                </c:pt>
                <c:pt idx="38">
                  <c:v>0.2620830496936692</c:v>
                </c:pt>
                <c:pt idx="39">
                  <c:v>0.20448369565217392</c:v>
                </c:pt>
                <c:pt idx="40">
                  <c:v>0.3203050524308866</c:v>
                </c:pt>
                <c:pt idx="41">
                  <c:v>0.2678386763185109</c:v>
                </c:pt>
                <c:pt idx="42">
                  <c:v>0.27021121631463946</c:v>
                </c:pt>
                <c:pt idx="43">
                  <c:v>0.263249348392702</c:v>
                </c:pt>
                <c:pt idx="44">
                  <c:v>0.3063973063973064</c:v>
                </c:pt>
                <c:pt idx="45">
                  <c:v>0.2118380062305296</c:v>
                </c:pt>
                <c:pt idx="46">
                  <c:v>0.14931237721021612</c:v>
                </c:pt>
                <c:pt idx="47">
                  <c:v>0.14602392681210416</c:v>
                </c:pt>
                <c:pt idx="48">
                  <c:v>0.13108945969884853</c:v>
                </c:pt>
                <c:pt idx="49">
                  <c:v>0.13206447853952225</c:v>
                </c:pt>
                <c:pt idx="50">
                  <c:v>0.12574988463313336</c:v>
                </c:pt>
                <c:pt idx="51">
                  <c:v>0.15718654434250764</c:v>
                </c:pt>
                <c:pt idx="52">
                  <c:v>0.15335986888316552</c:v>
                </c:pt>
                <c:pt idx="53">
                  <c:v>0.2168284789644013</c:v>
                </c:pt>
                <c:pt idx="54">
                  <c:v>0.23340248962655602</c:v>
                </c:pt>
                <c:pt idx="55">
                  <c:v>0.2545235223160434</c:v>
                </c:pt>
                <c:pt idx="56">
                  <c:v>0.26097560975609757</c:v>
                </c:pt>
                <c:pt idx="57">
                  <c:v>0.3202797202797203</c:v>
                </c:pt>
                <c:pt idx="58">
                  <c:v>0.32966023875114786</c:v>
                </c:pt>
                <c:pt idx="59">
                  <c:v>0.31337579617834393</c:v>
                </c:pt>
                <c:pt idx="60">
                  <c:v>0.29093369418132614</c:v>
                </c:pt>
                <c:pt idx="61">
                  <c:v>0.255524861878453</c:v>
                </c:pt>
                <c:pt idx="62">
                  <c:v>0.23266745005875442</c:v>
                </c:pt>
                <c:pt idx="63">
                  <c:v>0.27044025157232704</c:v>
                </c:pt>
                <c:pt idx="64">
                  <c:v>0.21783526208304968</c:v>
                </c:pt>
                <c:pt idx="65">
                  <c:v>0.30779392338177014</c:v>
                </c:pt>
                <c:pt idx="66">
                  <c:v>0.3185011709601874</c:v>
                </c:pt>
                <c:pt idx="67">
                  <c:v>0.29106945975744214</c:v>
                </c:pt>
                <c:pt idx="68">
                  <c:v>0.2980132450331126</c:v>
                </c:pt>
                <c:pt idx="69">
                  <c:v>0.2976303317535545</c:v>
                </c:pt>
                <c:pt idx="70">
                  <c:v>0.2739602169981917</c:v>
                </c:pt>
                <c:pt idx="71">
                  <c:v>0.23939986953685582</c:v>
                </c:pt>
                <c:pt idx="72">
                  <c:v>0.20634920634920634</c:v>
                </c:pt>
                <c:pt idx="73">
                  <c:v>0.18951612903225806</c:v>
                </c:pt>
                <c:pt idx="74">
                  <c:v>0.21875</c:v>
                </c:pt>
                <c:pt idx="75">
                  <c:v>0.4549125168236878</c:v>
                </c:pt>
                <c:pt idx="76">
                  <c:v>0.3175735950044603</c:v>
                </c:pt>
                <c:pt idx="77">
                  <c:v>0.3402684563758389</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28.1299</c:v>
                </c:pt>
                <c:pt idx="1">
                  <c:v>28.1103</c:v>
                </c:pt>
                <c:pt idx="2">
                  <c:v>28.0427</c:v>
                </c:pt>
                <c:pt idx="3">
                  <c:v>27.6103</c:v>
                </c:pt>
                <c:pt idx="4">
                  <c:v>29.0714</c:v>
                </c:pt>
                <c:pt idx="5">
                  <c:v>28.2778</c:v>
                </c:pt>
                <c:pt idx="6">
                  <c:v>26.8753</c:v>
                </c:pt>
                <c:pt idx="7">
                  <c:v>28.5745</c:v>
                </c:pt>
                <c:pt idx="8">
                  <c:v>27.5164</c:v>
                </c:pt>
                <c:pt idx="9">
                  <c:v>29.981</c:v>
                </c:pt>
                <c:pt idx="10">
                  <c:v>30.3875</c:v>
                </c:pt>
                <c:pt idx="11">
                  <c:v>29.7483</c:v>
                </c:pt>
                <c:pt idx="12">
                  <c:v>29.6283</c:v>
                </c:pt>
                <c:pt idx="13">
                  <c:v>29.3849</c:v>
                </c:pt>
                <c:pt idx="14">
                  <c:v>27.7935</c:v>
                </c:pt>
                <c:pt idx="15">
                  <c:v>27.3634</c:v>
                </c:pt>
                <c:pt idx="16">
                  <c:v>27.9026</c:v>
                </c:pt>
                <c:pt idx="17">
                  <c:v>27.5567</c:v>
                </c:pt>
                <c:pt idx="18">
                  <c:v>28.8753</c:v>
                </c:pt>
                <c:pt idx="19">
                  <c:v>29.7558</c:v>
                </c:pt>
                <c:pt idx="20">
                  <c:v>29.7585</c:v>
                </c:pt>
                <c:pt idx="21">
                  <c:v>31.6812</c:v>
                </c:pt>
                <c:pt idx="22">
                  <c:v>30.5397</c:v>
                </c:pt>
                <c:pt idx="23">
                  <c:v>29.7625</c:v>
                </c:pt>
                <c:pt idx="24">
                  <c:v>30.0205</c:v>
                </c:pt>
                <c:pt idx="25">
                  <c:v>30.5118</c:v>
                </c:pt>
                <c:pt idx="26">
                  <c:v>29.936</c:v>
                </c:pt>
                <c:pt idx="27">
                  <c:v>30.5929</c:v>
                </c:pt>
                <c:pt idx="28">
                  <c:v>29.9569</c:v>
                </c:pt>
                <c:pt idx="29">
                  <c:v>29.8783</c:v>
                </c:pt>
                <c:pt idx="30">
                  <c:v>30.0225</c:v>
                </c:pt>
                <c:pt idx="31">
                  <c:v>30.1422</c:v>
                </c:pt>
                <c:pt idx="32">
                  <c:v>30.2605</c:v>
                </c:pt>
                <c:pt idx="33">
                  <c:v>29.5882</c:v>
                </c:pt>
                <c:pt idx="34">
                  <c:v>29.8427</c:v>
                </c:pt>
                <c:pt idx="35">
                  <c:v>29.7304</c:v>
                </c:pt>
                <c:pt idx="36">
                  <c:v>29.8919</c:v>
                </c:pt>
                <c:pt idx="37">
                  <c:v>29.6429</c:v>
                </c:pt>
                <c:pt idx="38">
                  <c:v>30.825</c:v>
                </c:pt>
                <c:pt idx="39">
                  <c:v>29.6761</c:v>
                </c:pt>
                <c:pt idx="40">
                  <c:v>29.451</c:v>
                </c:pt>
                <c:pt idx="41">
                  <c:v>30.3406</c:v>
                </c:pt>
                <c:pt idx="42">
                  <c:v>28.084</c:v>
                </c:pt>
                <c:pt idx="43">
                  <c:v>29.1797</c:v>
                </c:pt>
                <c:pt idx="44">
                  <c:v>28.0771</c:v>
                </c:pt>
                <c:pt idx="45">
                  <c:v>28.5474</c:v>
                </c:pt>
                <c:pt idx="46">
                  <c:v>29.6704</c:v>
                </c:pt>
                <c:pt idx="47">
                  <c:v>30.291</c:v>
                </c:pt>
                <c:pt idx="48">
                  <c:v>30.0882</c:v>
                </c:pt>
                <c:pt idx="49">
                  <c:v>30.0901</c:v>
                </c:pt>
                <c:pt idx="50">
                  <c:v>29.8</c:v>
                </c:pt>
                <c:pt idx="51">
                  <c:v>30.9839</c:v>
                </c:pt>
              </c:numCache>
            </c:numRef>
          </c:xVal>
          <c:yVal>
            <c:numRef>
              <c:f>Sheet1!$B$82:$B$133</c:f>
              <c:numCache>
                <c:formatCode>General</c:formatCode>
                <c:ptCount val="52"/>
                <c:pt idx="0">
                  <c:v>0.2202517162471396</c:v>
                </c:pt>
                <c:pt idx="1">
                  <c:v>0.26047904191616766</c:v>
                </c:pt>
                <c:pt idx="2">
                  <c:v>0.266078184110971</c:v>
                </c:pt>
                <c:pt idx="3">
                  <c:v>0.27419354838709675</c:v>
                </c:pt>
                <c:pt idx="4">
                  <c:v>0.21813031161473087</c:v>
                </c:pt>
                <c:pt idx="5">
                  <c:v>0.2723521320495186</c:v>
                </c:pt>
                <c:pt idx="6">
                  <c:v>0.2715654952076677</c:v>
                </c:pt>
                <c:pt idx="7">
                  <c:v>0.2969046114971573</c:v>
                </c:pt>
                <c:pt idx="8">
                  <c:v>0.34814814814814815</c:v>
                </c:pt>
                <c:pt idx="9">
                  <c:v>0.23218221895664953</c:v>
                </c:pt>
                <c:pt idx="10">
                  <c:v>0.22678951098511693</c:v>
                </c:pt>
                <c:pt idx="11">
                  <c:v>0.24297520661157024</c:v>
                </c:pt>
                <c:pt idx="12">
                  <c:v>0.2329004329004329</c:v>
                </c:pt>
                <c:pt idx="13">
                  <c:v>0.19119878603945373</c:v>
                </c:pt>
                <c:pt idx="14">
                  <c:v>0.21835443037974683</c:v>
                </c:pt>
                <c:pt idx="15">
                  <c:v>0.2928</c:v>
                </c:pt>
                <c:pt idx="16">
                  <c:v>0.3058823529411765</c:v>
                </c:pt>
                <c:pt idx="17">
                  <c:v>0.2833690221270521</c:v>
                </c:pt>
                <c:pt idx="18">
                  <c:v>0.336472602739726</c:v>
                </c:pt>
                <c:pt idx="19">
                  <c:v>0.3333333333333333</c:v>
                </c:pt>
                <c:pt idx="20">
                  <c:v>0.21166448230668414</c:v>
                </c:pt>
                <c:pt idx="21">
                  <c:v>0.20520113774888257</c:v>
                </c:pt>
                <c:pt idx="22">
                  <c:v>0.14161281258780556</c:v>
                </c:pt>
                <c:pt idx="23">
                  <c:v>0.11651162790697675</c:v>
                </c:pt>
                <c:pt idx="24">
                  <c:v>0.13910686260522187</c:v>
                </c:pt>
                <c:pt idx="25">
                  <c:v>0.1310464444016188</c:v>
                </c:pt>
                <c:pt idx="26">
                  <c:v>0.13283740701381508</c:v>
                </c:pt>
                <c:pt idx="27">
                  <c:v>0.1934931506849315</c:v>
                </c:pt>
                <c:pt idx="28">
                  <c:v>0.31835205992509363</c:v>
                </c:pt>
                <c:pt idx="29">
                  <c:v>0.36629526462395545</c:v>
                </c:pt>
                <c:pt idx="30">
                  <c:v>0.35864297253634897</c:v>
                </c:pt>
                <c:pt idx="31">
                  <c:v>0.3343558282208589</c:v>
                </c:pt>
                <c:pt idx="32">
                  <c:v>0.19797421731123388</c:v>
                </c:pt>
                <c:pt idx="33">
                  <c:v>0.30402384500745155</c:v>
                </c:pt>
                <c:pt idx="34">
                  <c:v>0.2976588628762542</c:v>
                </c:pt>
                <c:pt idx="35">
                  <c:v>0.2527881040892193</c:v>
                </c:pt>
                <c:pt idx="36">
                  <c:v>0.22616136919315402</c:v>
                </c:pt>
                <c:pt idx="37">
                  <c:v>0.23578947368421052</c:v>
                </c:pt>
                <c:pt idx="38">
                  <c:v>0.24539877300613497</c:v>
                </c:pt>
                <c:pt idx="39">
                  <c:v>0.2769058295964126</c:v>
                </c:pt>
                <c:pt idx="40">
                  <c:v>0.28936170212765955</c:v>
                </c:pt>
                <c:pt idx="41">
                  <c:v>0.24806201550387597</c:v>
                </c:pt>
                <c:pt idx="42">
                  <c:v>0.33086190917516217</c:v>
                </c:pt>
                <c:pt idx="43">
                  <c:v>0.37089201877934275</c:v>
                </c:pt>
                <c:pt idx="44">
                  <c:v>0.3463740458015267</c:v>
                </c:pt>
                <c:pt idx="45">
                  <c:v>0.36115992970123023</c:v>
                </c:pt>
                <c:pt idx="46">
                  <c:v>0.17916390179163902</c:v>
                </c:pt>
                <c:pt idx="47">
                  <c:v>0.22330097087378642</c:v>
                </c:pt>
                <c:pt idx="48">
                  <c:v>0.2001308044473512</c:v>
                </c:pt>
                <c:pt idx="49">
                  <c:v>0.19473684210526315</c:v>
                </c:pt>
                <c:pt idx="50">
                  <c:v>0.34334763948497854</c:v>
                </c:pt>
                <c:pt idx="51">
                  <c:v>0.22015915119363394</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28.05389548288462</c:v>
                </c:pt>
              </c:numCache>
            </c:numRef>
          </c:xVal>
          <c:yVal>
            <c:numRef>
              <c:f>Sheet1!$B$136:$B$137</c:f>
              <c:numCache>
                <c:formatCode>General</c:formatCode>
                <c:ptCount val="2"/>
                <c:pt idx="0">
                  <c:v>0.2887490862312743</c:v>
                </c:pt>
                <c:pt idx="1">
                  <c:v>0.2887490862312743</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28.05389548288462</c:v>
                </c:pt>
                <c:pt idx="1">
                  <c:v>28.05389548288462</c:v>
                </c:pt>
              </c:numCache>
            </c:numRef>
          </c:xVal>
          <c:yVal>
            <c:numRef>
              <c:f>Sheet1!$B$140:$B$141</c:f>
              <c:numCache>
                <c:formatCode>General</c:formatCode>
                <c:ptCount val="2"/>
                <c:pt idx="0">
                  <c:v>0.288749086231274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28.580581727641515</c:v>
                </c:pt>
              </c:numCache>
            </c:numRef>
          </c:xVal>
          <c:yVal>
            <c:numRef>
              <c:f>Sheet1!$B$144:$B$145</c:f>
              <c:numCache>
                <c:formatCode>General</c:formatCode>
                <c:ptCount val="2"/>
                <c:pt idx="0">
                  <c:v>0.27572744312168174</c:v>
                </c:pt>
                <c:pt idx="1">
                  <c:v>0.27572744312168174</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28.580581727641515</c:v>
                </c:pt>
                <c:pt idx="1">
                  <c:v>28.580581727641515</c:v>
                </c:pt>
              </c:numCache>
            </c:numRef>
          </c:xVal>
          <c:yVal>
            <c:numRef>
              <c:f>Sheet1!$B$148:$B$149</c:f>
              <c:numCache>
                <c:formatCode>General</c:formatCode>
                <c:ptCount val="2"/>
                <c:pt idx="0">
                  <c:v>0.27572744312168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28.58058172764152</c:v>
                </c:pt>
              </c:numCache>
            </c:numRef>
          </c:xVal>
          <c:yVal>
            <c:numRef>
              <c:f>Sheet1!$B$152:$B$153</c:f>
              <c:numCache>
                <c:formatCode>General</c:formatCode>
                <c:ptCount val="2"/>
                <c:pt idx="0">
                  <c:v>0.2757274431216816</c:v>
                </c:pt>
                <c:pt idx="1">
                  <c:v>0.2757274431216816</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28.58058172764152</c:v>
                </c:pt>
                <c:pt idx="1">
                  <c:v>28.58058172764152</c:v>
                </c:pt>
              </c:numCache>
            </c:numRef>
          </c:xVal>
          <c:yVal>
            <c:numRef>
              <c:f>Sheet1!$B$156:$B$157</c:f>
              <c:numCache>
                <c:formatCode>General</c:formatCode>
                <c:ptCount val="2"/>
                <c:pt idx="0">
                  <c:v>0.27572744312168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28.1299</c:v>
                </c:pt>
                <c:pt idx="1">
                  <c:v>28.1103</c:v>
                </c:pt>
                <c:pt idx="2">
                  <c:v>28.0427</c:v>
                </c:pt>
                <c:pt idx="3">
                  <c:v>27.6103</c:v>
                </c:pt>
                <c:pt idx="4">
                  <c:v>29.0714</c:v>
                </c:pt>
                <c:pt idx="5">
                  <c:v>28.2778</c:v>
                </c:pt>
                <c:pt idx="6">
                  <c:v>26.8753</c:v>
                </c:pt>
                <c:pt idx="7">
                  <c:v>28.5745</c:v>
                </c:pt>
                <c:pt idx="8">
                  <c:v>27.5164</c:v>
                </c:pt>
                <c:pt idx="9">
                  <c:v>29.981</c:v>
                </c:pt>
                <c:pt idx="10">
                  <c:v>30.3875</c:v>
                </c:pt>
                <c:pt idx="11">
                  <c:v>29.7483</c:v>
                </c:pt>
                <c:pt idx="12">
                  <c:v>29.6283</c:v>
                </c:pt>
                <c:pt idx="13">
                  <c:v>29.3849</c:v>
                </c:pt>
                <c:pt idx="14">
                  <c:v>27.7935</c:v>
                </c:pt>
                <c:pt idx="15">
                  <c:v>27.3634</c:v>
                </c:pt>
                <c:pt idx="16">
                  <c:v>27.9026</c:v>
                </c:pt>
                <c:pt idx="17">
                  <c:v>27.5567</c:v>
                </c:pt>
                <c:pt idx="18">
                  <c:v>28.8753</c:v>
                </c:pt>
                <c:pt idx="19">
                  <c:v>29.7558</c:v>
                </c:pt>
                <c:pt idx="20">
                  <c:v>29.7585</c:v>
                </c:pt>
                <c:pt idx="21">
                  <c:v>31.6812</c:v>
                </c:pt>
                <c:pt idx="22">
                  <c:v>30.5397</c:v>
                </c:pt>
                <c:pt idx="23">
                  <c:v>29.7625</c:v>
                </c:pt>
                <c:pt idx="24">
                  <c:v>30.0205</c:v>
                </c:pt>
                <c:pt idx="25">
                  <c:v>30.5118</c:v>
                </c:pt>
                <c:pt idx="26">
                  <c:v>29.936</c:v>
                </c:pt>
                <c:pt idx="27">
                  <c:v>30.5929</c:v>
                </c:pt>
                <c:pt idx="28">
                  <c:v>29.9569</c:v>
                </c:pt>
                <c:pt idx="29">
                  <c:v>29.8783</c:v>
                </c:pt>
                <c:pt idx="30">
                  <c:v>30.0225</c:v>
                </c:pt>
                <c:pt idx="31">
                  <c:v>30.1422</c:v>
                </c:pt>
                <c:pt idx="32">
                  <c:v>30.2605</c:v>
                </c:pt>
                <c:pt idx="33">
                  <c:v>29.5882</c:v>
                </c:pt>
                <c:pt idx="34">
                  <c:v>29.8427</c:v>
                </c:pt>
                <c:pt idx="35">
                  <c:v>29.7304</c:v>
                </c:pt>
                <c:pt idx="36">
                  <c:v>29.8919</c:v>
                </c:pt>
                <c:pt idx="37">
                  <c:v>29.6429</c:v>
                </c:pt>
                <c:pt idx="38">
                  <c:v>30.825</c:v>
                </c:pt>
                <c:pt idx="39">
                  <c:v>29.6761</c:v>
                </c:pt>
                <c:pt idx="40">
                  <c:v>29.451</c:v>
                </c:pt>
                <c:pt idx="41">
                  <c:v>30.3406</c:v>
                </c:pt>
                <c:pt idx="42">
                  <c:v>28.084</c:v>
                </c:pt>
                <c:pt idx="43">
                  <c:v>29.1797</c:v>
                </c:pt>
                <c:pt idx="44">
                  <c:v>28.0771</c:v>
                </c:pt>
                <c:pt idx="45">
                  <c:v>28.5474</c:v>
                </c:pt>
                <c:pt idx="46">
                  <c:v>29.6704</c:v>
                </c:pt>
                <c:pt idx="47">
                  <c:v>30.291</c:v>
                </c:pt>
                <c:pt idx="48">
                  <c:v>30.0882</c:v>
                </c:pt>
                <c:pt idx="49">
                  <c:v>30.0901</c:v>
                </c:pt>
                <c:pt idx="50">
                  <c:v>29.8</c:v>
                </c:pt>
                <c:pt idx="51">
                  <c:v>30.9839</c:v>
                </c:pt>
                <c:pt idx="52">
                  <c:v>28.580581727641515</c:v>
                </c:pt>
                <c:pt idx="53">
                  <c:v>28.05389548288462</c:v>
                </c:pt>
                <c:pt idx="54">
                  <c:v>28.58058172764152</c:v>
                </c:pt>
              </c:numCache>
            </c:numRef>
          </c:xVal>
          <c:yVal>
            <c:numRef>
              <c:f>Sheet1!$B$160:$B$214</c:f>
              <c:numCache>
                <c:formatCode>General</c:formatCode>
                <c:ptCount val="55"/>
                <c:pt idx="0">
                  <c:v>0.286869971850662</c:v>
                </c:pt>
                <c:pt idx="1">
                  <c:v>0.2873545567576892</c:v>
                </c:pt>
                <c:pt idx="2">
                  <c:v>0.28902588021253794</c:v>
                </c:pt>
                <c:pt idx="3">
                  <c:v>0.2997164166308315</c:v>
                </c:pt>
                <c:pt idx="4">
                  <c:v>0.2635925897095349</c:v>
                </c:pt>
                <c:pt idx="5">
                  <c:v>0.2832133337001864</c:v>
                </c:pt>
                <c:pt idx="6">
                  <c:v>0.3178883506443506</c:v>
                </c:pt>
                <c:pt idx="7">
                  <c:v>0.2758778060514637</c:v>
                </c:pt>
                <c:pt idx="8">
                  <c:v>0.30203797391500753</c:v>
                </c:pt>
                <c:pt idx="9">
                  <c:v>0.24110389422831446</c:v>
                </c:pt>
                <c:pt idx="10">
                  <c:v>0.23105370215144982</c:v>
                </c:pt>
                <c:pt idx="11">
                  <c:v>0.24685710381327486</c:v>
                </c:pt>
                <c:pt idx="12">
                  <c:v>0.2498239501828291</c:v>
                </c:pt>
                <c:pt idx="13">
                  <c:v>0.25584170356907476</c:v>
                </c:pt>
                <c:pt idx="14">
                  <c:v>0.295187031173312</c:v>
                </c:pt>
                <c:pt idx="15">
                  <c:v>0.30582070303618913</c:v>
                </c:pt>
                <c:pt idx="16">
                  <c:v>0.29248967334899245</c:v>
                </c:pt>
                <c:pt idx="17">
                  <c:v>0.3010416080092323</c:v>
                </c:pt>
                <c:pt idx="18">
                  <c:v>0.26844091115178137</c:v>
                </c:pt>
                <c:pt idx="19">
                  <c:v>0.2466716759151777</c:v>
                </c:pt>
                <c:pt idx="20">
                  <c:v>0.24660492187186278</c:v>
                </c:pt>
                <c:pt idx="21">
                  <c:v>0.1990686259156813</c:v>
                </c:pt>
                <c:pt idx="22">
                  <c:v>0.2272907520060653</c:v>
                </c:pt>
                <c:pt idx="23">
                  <c:v>0.2465060269928777</c:v>
                </c:pt>
                <c:pt idx="24">
                  <c:v>0.2401273072983363</c:v>
                </c:pt>
                <c:pt idx="25">
                  <c:v>0.2279805437869865</c:v>
                </c:pt>
                <c:pt idx="26">
                  <c:v>0.24221646161689725</c:v>
                </c:pt>
                <c:pt idx="27">
                  <c:v>0.22597545011556286</c:v>
                </c:pt>
                <c:pt idx="28">
                  <c:v>0.2416997358741999</c:v>
                </c:pt>
                <c:pt idx="29">
                  <c:v>0.24364302024625795</c:v>
                </c:pt>
                <c:pt idx="30">
                  <c:v>0.24007785985884367</c:v>
                </c:pt>
                <c:pt idx="31">
                  <c:v>0.23711843060521343</c:v>
                </c:pt>
                <c:pt idx="32">
                  <c:v>0.23419361455922794</c:v>
                </c:pt>
                <c:pt idx="33">
                  <c:v>0.25081537134465504</c:v>
                </c:pt>
                <c:pt idx="34">
                  <c:v>0.24452318466922562</c:v>
                </c:pt>
                <c:pt idx="35">
                  <c:v>0.2472996583967334</c:v>
                </c:pt>
                <c:pt idx="36">
                  <c:v>0.24330677765770847</c:v>
                </c:pt>
                <c:pt idx="37">
                  <c:v>0.24946298387453325</c:v>
                </c:pt>
                <c:pt idx="38">
                  <c:v>0.22023707476245025</c:v>
                </c:pt>
                <c:pt idx="39">
                  <c:v>0.2486421563789566</c:v>
                </c:pt>
                <c:pt idx="40">
                  <c:v>0.25420746569384534</c:v>
                </c:pt>
                <c:pt idx="41">
                  <c:v>0.23221324460755055</c:v>
                </c:pt>
                <c:pt idx="42">
                  <c:v>0.28800479058701645</c:v>
                </c:pt>
                <c:pt idx="43">
                  <c:v>0.2609150108610123</c:v>
                </c:pt>
                <c:pt idx="44">
                  <c:v>0.2881753842532657</c:v>
                </c:pt>
                <c:pt idx="45">
                  <c:v>0.2765478188565881</c:v>
                </c:pt>
                <c:pt idx="46">
                  <c:v>0.2487830815815104</c:v>
                </c:pt>
                <c:pt idx="47">
                  <c:v>0.2334395411069662</c:v>
                </c:pt>
                <c:pt idx="48">
                  <c:v>0.23845351147151272</c:v>
                </c:pt>
                <c:pt idx="49">
                  <c:v>0.23840653640399478</c:v>
                </c:pt>
                <c:pt idx="50">
                  <c:v>0.24557888750239198</c:v>
                </c:pt>
                <c:pt idx="51">
                  <c:v>0.21630847569476563</c:v>
                </c:pt>
                <c:pt idx="52">
                  <c:v>0.27572744312168174</c:v>
                </c:pt>
                <c:pt idx="53">
                  <c:v>0.28874908623127427</c:v>
                </c:pt>
                <c:pt idx="54">
                  <c:v>0.275727443121681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0"/>
          <c:min val="2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458950201884253"/>
          <c:min val="0.0798561151079136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44325920211266556</c:v>
                </c:pt>
                <c:pt idx="1">
                  <c:v>0.4645079369256605</c:v>
                </c:pt>
                <c:pt idx="2">
                  <c:v>0.4698549172410621</c:v>
                </c:pt>
                <c:pt idx="3">
                  <c:v>0.4331147218442065</c:v>
                </c:pt>
                <c:pt idx="4">
                  <c:v>0.4446241697914369</c:v>
                </c:pt>
                <c:pt idx="5">
                  <c:v>0.4337445128611795</c:v>
                </c:pt>
                <c:pt idx="6">
                  <c:v>0.43120044093107107</c:v>
                </c:pt>
                <c:pt idx="7">
                  <c:v>0.4367193251533742</c:v>
                </c:pt>
                <c:pt idx="8">
                  <c:v>0.4257480740159649</c:v>
                </c:pt>
                <c:pt idx="9">
                  <c:v>0.426545408489514</c:v>
                </c:pt>
                <c:pt idx="10">
                  <c:v>0.4348548640692427</c:v>
                </c:pt>
                <c:pt idx="11">
                  <c:v>0.4385738546194582</c:v>
                </c:pt>
                <c:pt idx="12">
                  <c:v>0.44033473584333366</c:v>
                </c:pt>
                <c:pt idx="13">
                  <c:v>0.4335911303743077</c:v>
                </c:pt>
                <c:pt idx="14">
                  <c:v>0.42876745575386455</c:v>
                </c:pt>
                <c:pt idx="15">
                  <c:v>0.4353441608662026</c:v>
                </c:pt>
                <c:pt idx="16">
                  <c:v>0.4228654903317572</c:v>
                </c:pt>
                <c:pt idx="17">
                  <c:v>0.4270208115230215</c:v>
                </c:pt>
                <c:pt idx="18">
                  <c:v>0.4236360396929298</c:v>
                </c:pt>
                <c:pt idx="19">
                  <c:v>0.4664407147863838</c:v>
                </c:pt>
                <c:pt idx="20">
                  <c:v>0.47288225709630394</c:v>
                </c:pt>
                <c:pt idx="21">
                  <c:v>0.47219704534398443</c:v>
                </c:pt>
                <c:pt idx="22">
                  <c:v>0.443933864864344</c:v>
                </c:pt>
                <c:pt idx="23">
                  <c:v>0.42826344293766605</c:v>
                </c:pt>
                <c:pt idx="24">
                  <c:v>0.42961475373087027</c:v>
                </c:pt>
                <c:pt idx="25">
                  <c:v>0.42587957804429394</c:v>
                </c:pt>
                <c:pt idx="26">
                  <c:v>0.42304454679899234</c:v>
                </c:pt>
                <c:pt idx="27">
                  <c:v>0.4440952633964151</c:v>
                </c:pt>
                <c:pt idx="28">
                  <c:v>0.43902188670794234</c:v>
                </c:pt>
                <c:pt idx="29">
                  <c:v>0.43327671917048616</c:v>
                </c:pt>
                <c:pt idx="30">
                  <c:v>0.44278286696985697</c:v>
                </c:pt>
                <c:pt idx="31">
                  <c:v>0.4262388225678545</c:v>
                </c:pt>
                <c:pt idx="32">
                  <c:v>0.43346265202473827</c:v>
                </c:pt>
                <c:pt idx="33">
                  <c:v>0.44381640081678553</c:v>
                </c:pt>
                <c:pt idx="34">
                  <c:v>0.44138840440107174</c:v>
                </c:pt>
                <c:pt idx="35">
                  <c:v>0.4873731596553581</c:v>
                </c:pt>
                <c:pt idx="36">
                  <c:v>0.48832448674454554</c:v>
                </c:pt>
                <c:pt idx="37">
                  <c:v>0.4946881332789082</c:v>
                </c:pt>
                <c:pt idx="38">
                  <c:v>0.4956889819965857</c:v>
                </c:pt>
                <c:pt idx="39">
                  <c:v>0.46164088583994245</c:v>
                </c:pt>
                <c:pt idx="40">
                  <c:v>0.43760739083462713</c:v>
                </c:pt>
                <c:pt idx="41">
                  <c:v>0.4462248371794592</c:v>
                </c:pt>
                <c:pt idx="42">
                  <c:v>0.4382052076875388</c:v>
                </c:pt>
                <c:pt idx="43">
                  <c:v>0.42942361171827426</c:v>
                </c:pt>
                <c:pt idx="44">
                  <c:v>0.44576932849784023</c:v>
                </c:pt>
                <c:pt idx="45">
                  <c:v>0.4557527887248681</c:v>
                </c:pt>
                <c:pt idx="46">
                  <c:v>0.4735318183604059</c:v>
                </c:pt>
                <c:pt idx="47">
                  <c:v>0.48100182855099166</c:v>
                </c:pt>
                <c:pt idx="48">
                  <c:v>0.48178715418836493</c:v>
                </c:pt>
                <c:pt idx="49">
                  <c:v>0.4825033831817325</c:v>
                </c:pt>
                <c:pt idx="50">
                  <c:v>0.4779373532300435</c:v>
                </c:pt>
                <c:pt idx="51">
                  <c:v>0.4805549091316763</c:v>
                </c:pt>
                <c:pt idx="52">
                  <c:v>0.5170821822166248</c:v>
                </c:pt>
                <c:pt idx="53">
                  <c:v>0.45582701097422335</c:v>
                </c:pt>
                <c:pt idx="54">
                  <c:v>0.4600172886508821</c:v>
                </c:pt>
                <c:pt idx="55">
                  <c:v>0.4696172237657652</c:v>
                </c:pt>
                <c:pt idx="56">
                  <c:v>0.4634457456442487</c:v>
                </c:pt>
                <c:pt idx="57">
                  <c:v>0.46074203507768263</c:v>
                </c:pt>
                <c:pt idx="58">
                  <c:v>0.46809240428644155</c:v>
                </c:pt>
                <c:pt idx="59">
                  <c:v>0.4473467585179221</c:v>
                </c:pt>
                <c:pt idx="60">
                  <c:v>0.44920341894616295</c:v>
                </c:pt>
                <c:pt idx="61">
                  <c:v>0.4498764038905906</c:v>
                </c:pt>
                <c:pt idx="62">
                  <c:v>0.46051933966122643</c:v>
                </c:pt>
                <c:pt idx="63">
                  <c:v>0.4554719507056774</c:v>
                </c:pt>
                <c:pt idx="64">
                  <c:v>0.4394061053768778</c:v>
                </c:pt>
                <c:pt idx="65">
                  <c:v>0.4461923452018404</c:v>
                </c:pt>
                <c:pt idx="66">
                  <c:v>0.4470905235569835</c:v>
                </c:pt>
                <c:pt idx="67">
                  <c:v>0.47116983126120665</c:v>
                </c:pt>
                <c:pt idx="68">
                  <c:v>0.4784949623110679</c:v>
                </c:pt>
                <c:pt idx="69">
                  <c:v>0.4742119354780614</c:v>
                </c:pt>
                <c:pt idx="70">
                  <c:v>0.4634885774987468</c:v>
                </c:pt>
                <c:pt idx="71">
                  <c:v>0.5016447449779629</c:v>
                </c:pt>
                <c:pt idx="72">
                  <c:v>0.5049381854204688</c:v>
                </c:pt>
                <c:pt idx="73">
                  <c:v>0.5003065808240359</c:v>
                </c:pt>
                <c:pt idx="74">
                  <c:v>0.4755936047772295</c:v>
                </c:pt>
                <c:pt idx="75">
                  <c:v>0.41109594036994507</c:v>
                </c:pt>
                <c:pt idx="76">
                  <c:v>0.41238577866443415</c:v>
                </c:pt>
                <c:pt idx="77">
                  <c:v>0.44957084498444805</c:v>
                </c:pt>
              </c:numCache>
            </c:numRef>
          </c:xVal>
          <c:yVal>
            <c:numRef>
              <c:f>Sheet1!$B$2:$B$79</c:f>
              <c:numCache>
                <c:formatCode>General</c:formatCode>
                <c:ptCount val="78"/>
                <c:pt idx="0">
                  <c:v>0.08924827792752321</c:v>
                </c:pt>
                <c:pt idx="1">
                  <c:v>0.09693877551020408</c:v>
                </c:pt>
                <c:pt idx="2">
                  <c:v>0.09098294069861901</c:v>
                </c:pt>
                <c:pt idx="3">
                  <c:v>0.11330798479087452</c:v>
                </c:pt>
                <c:pt idx="4">
                  <c:v>0.14393602843180808</c:v>
                </c:pt>
                <c:pt idx="5">
                  <c:v>0.16862037871956717</c:v>
                </c:pt>
                <c:pt idx="6">
                  <c:v>0.16183470359151883</c:v>
                </c:pt>
                <c:pt idx="7">
                  <c:v>0.16343825665859565</c:v>
                </c:pt>
                <c:pt idx="8">
                  <c:v>0.20150115473441108</c:v>
                </c:pt>
                <c:pt idx="9">
                  <c:v>0.20556501987507098</c:v>
                </c:pt>
                <c:pt idx="10">
                  <c:v>0.18739903069466882</c:v>
                </c:pt>
                <c:pt idx="11">
                  <c:v>0.19915478077126256</c:v>
                </c:pt>
                <c:pt idx="12">
                  <c:v>0.12823529411764706</c:v>
                </c:pt>
                <c:pt idx="13">
                  <c:v>0.24278972207656005</c:v>
                </c:pt>
                <c:pt idx="14">
                  <c:v>0.2575360419397117</c:v>
                </c:pt>
                <c:pt idx="15">
                  <c:v>0.2452928870292887</c:v>
                </c:pt>
                <c:pt idx="16">
                  <c:v>0.2360248447204969</c:v>
                </c:pt>
                <c:pt idx="17">
                  <c:v>0.2532051282051282</c:v>
                </c:pt>
                <c:pt idx="18">
                  <c:v>0.26156217882836585</c:v>
                </c:pt>
                <c:pt idx="19">
                  <c:v>0.19467101685698748</c:v>
                </c:pt>
                <c:pt idx="20">
                  <c:v>0.17033976124885217</c:v>
                </c:pt>
                <c:pt idx="21">
                  <c:v>0.11894052973513243</c:v>
                </c:pt>
                <c:pt idx="22">
                  <c:v>0.2067435669920142</c:v>
                </c:pt>
                <c:pt idx="23">
                  <c:v>0.21729079981507166</c:v>
                </c:pt>
                <c:pt idx="24">
                  <c:v>0.22478120681713495</c:v>
                </c:pt>
                <c:pt idx="25">
                  <c:v>0.2304204451772465</c:v>
                </c:pt>
                <c:pt idx="26">
                  <c:v>0.1488162344983089</c:v>
                </c:pt>
                <c:pt idx="27">
                  <c:v>0.21134328358208956</c:v>
                </c:pt>
                <c:pt idx="28">
                  <c:v>0.17037861915367483</c:v>
                </c:pt>
                <c:pt idx="29">
                  <c:v>0.18441874619598295</c:v>
                </c:pt>
                <c:pt idx="30">
                  <c:v>0.19811320754716982</c:v>
                </c:pt>
                <c:pt idx="31">
                  <c:v>0.21209302325581394</c:v>
                </c:pt>
                <c:pt idx="32">
                  <c:v>0.22924901185770752</c:v>
                </c:pt>
                <c:pt idx="33">
                  <c:v>0.22250639386189258</c:v>
                </c:pt>
                <c:pt idx="34">
                  <c:v>0.19057931781266918</c:v>
                </c:pt>
                <c:pt idx="35">
                  <c:v>0.19935543278084714</c:v>
                </c:pt>
                <c:pt idx="36">
                  <c:v>0.14472252448313383</c:v>
                </c:pt>
                <c:pt idx="37">
                  <c:v>0.21796028880866425</c:v>
                </c:pt>
                <c:pt idx="38">
                  <c:v>0.18260081558676938</c:v>
                </c:pt>
                <c:pt idx="39">
                  <c:v>0.13659099653712967</c:v>
                </c:pt>
                <c:pt idx="40">
                  <c:v>0.23497536945812808</c:v>
                </c:pt>
                <c:pt idx="41">
                  <c:v>0.21879978757302176</c:v>
                </c:pt>
                <c:pt idx="42">
                  <c:v>0.18309201307800094</c:v>
                </c:pt>
                <c:pt idx="43">
                  <c:v>0.27650849443468073</c:v>
                </c:pt>
                <c:pt idx="44">
                  <c:v>0.22409115572436245</c:v>
                </c:pt>
                <c:pt idx="45">
                  <c:v>0.17182564750473783</c:v>
                </c:pt>
                <c:pt idx="46">
                  <c:v>0.10269687162891046</c:v>
                </c:pt>
                <c:pt idx="47">
                  <c:v>0.14402003757044457</c:v>
                </c:pt>
                <c:pt idx="48">
                  <c:v>0.1118757373181282</c:v>
                </c:pt>
                <c:pt idx="49">
                  <c:v>0.10975776652524977</c:v>
                </c:pt>
                <c:pt idx="50">
                  <c:v>0.10205754570046725</c:v>
                </c:pt>
                <c:pt idx="51">
                  <c:v>0.12135792568831863</c:v>
                </c:pt>
                <c:pt idx="52">
                  <c:v>0.11938400678157672</c:v>
                </c:pt>
                <c:pt idx="53">
                  <c:v>0.1440972222222222</c:v>
                </c:pt>
                <c:pt idx="54">
                  <c:v>0.15979137031768612</c:v>
                </c:pt>
                <c:pt idx="55">
                  <c:v>0.1513671875</c:v>
                </c:pt>
                <c:pt idx="56">
                  <c:v>0.18055555555555555</c:v>
                </c:pt>
                <c:pt idx="57">
                  <c:v>0.21489482660602616</c:v>
                </c:pt>
                <c:pt idx="58">
                  <c:v>0.22819528250137136</c:v>
                </c:pt>
                <c:pt idx="59">
                  <c:v>0.24905087319665908</c:v>
                </c:pt>
                <c:pt idx="60">
                  <c:v>0.19592298980747452</c:v>
                </c:pt>
                <c:pt idx="61">
                  <c:v>0.22625698324022347</c:v>
                </c:pt>
                <c:pt idx="62">
                  <c:v>0.20458177943526903</c:v>
                </c:pt>
                <c:pt idx="63">
                  <c:v>0.20104895104895104</c:v>
                </c:pt>
                <c:pt idx="64">
                  <c:v>0.15848923402753265</c:v>
                </c:pt>
                <c:pt idx="65">
                  <c:v>0.26258992805755393</c:v>
                </c:pt>
                <c:pt idx="66">
                  <c:v>0.2736757624398074</c:v>
                </c:pt>
                <c:pt idx="67">
                  <c:v>0.29535864978902954</c:v>
                </c:pt>
                <c:pt idx="68">
                  <c:v>0.20837927232635062</c:v>
                </c:pt>
                <c:pt idx="69">
                  <c:v>0.2735527809307605</c:v>
                </c:pt>
                <c:pt idx="70">
                  <c:v>0.28444444444444444</c:v>
                </c:pt>
                <c:pt idx="71">
                  <c:v>0.16885315277190013</c:v>
                </c:pt>
                <c:pt idx="72">
                  <c:v>0.12124425592082008</c:v>
                </c:pt>
                <c:pt idx="73">
                  <c:v>0.15714833269451897</c:v>
                </c:pt>
                <c:pt idx="74">
                  <c:v>0.19230769230769232</c:v>
                </c:pt>
                <c:pt idx="75">
                  <c:v>0.40133500208594075</c:v>
                </c:pt>
                <c:pt idx="76">
                  <c:v>0.33638676844783716</c:v>
                </c:pt>
                <c:pt idx="77">
                  <c:v>0.25590872045639773</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3728391538655725</c:v>
                </c:pt>
                <c:pt idx="1">
                  <c:v>0.4154543917882931</c:v>
                </c:pt>
                <c:pt idx="2">
                  <c:v>0.414574764071415</c:v>
                </c:pt>
                <c:pt idx="3">
                  <c:v>0.41285321960709875</c:v>
                </c:pt>
                <c:pt idx="4">
                  <c:v>0.4178085698453236</c:v>
                </c:pt>
                <c:pt idx="5">
                  <c:v>0.41919619233264466</c:v>
                </c:pt>
                <c:pt idx="6">
                  <c:v>0.41184328358208955</c:v>
                </c:pt>
                <c:pt idx="7">
                  <c:v>0.41477158678993536</c:v>
                </c:pt>
                <c:pt idx="8">
                  <c:v>0.4012873289016248</c:v>
                </c:pt>
                <c:pt idx="9">
                  <c:v>0.4507572256231196</c:v>
                </c:pt>
                <c:pt idx="10">
                  <c:v>0.5156987428926412</c:v>
                </c:pt>
                <c:pt idx="11">
                  <c:v>0.5173400480714204</c:v>
                </c:pt>
                <c:pt idx="12">
                  <c:v>0.5157154766075766</c:v>
                </c:pt>
                <c:pt idx="13">
                  <c:v>0.5190158075792333</c:v>
                </c:pt>
                <c:pt idx="14">
                  <c:v>0.42285088414151134</c:v>
                </c:pt>
                <c:pt idx="15">
                  <c:v>0.4063890429139584</c:v>
                </c:pt>
                <c:pt idx="16">
                  <c:v>0.4058480573234234</c:v>
                </c:pt>
                <c:pt idx="17">
                  <c:v>0.40895554374857684</c:v>
                </c:pt>
                <c:pt idx="18">
                  <c:v>0.42852265376045234</c:v>
                </c:pt>
                <c:pt idx="19">
                  <c:v>0.4450716713462391</c:v>
                </c:pt>
                <c:pt idx="20">
                  <c:v>0.5163699328813036</c:v>
                </c:pt>
                <c:pt idx="21">
                  <c:v>0.5586085480296148</c:v>
                </c:pt>
                <c:pt idx="22">
                  <c:v>0.5256035418929078</c:v>
                </c:pt>
                <c:pt idx="23">
                  <c:v>0.524432124298302</c:v>
                </c:pt>
                <c:pt idx="24">
                  <c:v>0.5221884624845397</c:v>
                </c:pt>
                <c:pt idx="25">
                  <c:v>0.5231074154778057</c:v>
                </c:pt>
                <c:pt idx="26">
                  <c:v>0.5114437653233882</c:v>
                </c:pt>
                <c:pt idx="27">
                  <c:v>0.4802438982140692</c:v>
                </c:pt>
                <c:pt idx="28">
                  <c:v>0.4489733959682244</c:v>
                </c:pt>
                <c:pt idx="29">
                  <c:v>0.4585485336489604</c:v>
                </c:pt>
                <c:pt idx="30">
                  <c:v>0.45871440617500164</c:v>
                </c:pt>
                <c:pt idx="31">
                  <c:v>0.5145190701665671</c:v>
                </c:pt>
                <c:pt idx="32">
                  <c:v>0.4517446039167451</c:v>
                </c:pt>
                <c:pt idx="33">
                  <c:v>0.4430481323229466</c:v>
                </c:pt>
                <c:pt idx="34">
                  <c:v>0.44755909838109326</c:v>
                </c:pt>
                <c:pt idx="35">
                  <c:v>0.4551730882065324</c:v>
                </c:pt>
                <c:pt idx="36">
                  <c:v>0.4436548535667827</c:v>
                </c:pt>
                <c:pt idx="37">
                  <c:v>0.44262724855773855</c:v>
                </c:pt>
                <c:pt idx="38">
                  <c:v>0.4517902000724513</c:v>
                </c:pt>
                <c:pt idx="39">
                  <c:v>0.4465700768775872</c:v>
                </c:pt>
                <c:pt idx="40">
                  <c:v>0.44609592166950174</c:v>
                </c:pt>
                <c:pt idx="41">
                  <c:v>0.45343510774028917</c:v>
                </c:pt>
                <c:pt idx="42">
                  <c:v>0.4127516227832654</c:v>
                </c:pt>
                <c:pt idx="43">
                  <c:v>0.4160436813839008</c:v>
                </c:pt>
                <c:pt idx="44">
                  <c:v>0.4103888557806913</c:v>
                </c:pt>
                <c:pt idx="45">
                  <c:v>0.4163814144541017</c:v>
                </c:pt>
                <c:pt idx="46">
                  <c:v>0.4840647060561009</c:v>
                </c:pt>
                <c:pt idx="47">
                  <c:v>0.5065941328493362</c:v>
                </c:pt>
                <c:pt idx="48">
                  <c:v>0.45987409866086754</c:v>
                </c:pt>
                <c:pt idx="49">
                  <c:v>0.46650899686043457</c:v>
                </c:pt>
                <c:pt idx="50">
                  <c:v>0.4470223027088147</c:v>
                </c:pt>
                <c:pt idx="51">
                  <c:v>0.45074542451192795</c:v>
                </c:pt>
              </c:numCache>
            </c:numRef>
          </c:xVal>
          <c:yVal>
            <c:numRef>
              <c:f>Sheet1!$B$82:$B$133</c:f>
              <c:numCache>
                <c:formatCode>General</c:formatCode>
                <c:ptCount val="52"/>
                <c:pt idx="0">
                  <c:v>0.2486732373009856</c:v>
                </c:pt>
                <c:pt idx="1">
                  <c:v>0.2542096686583379</c:v>
                </c:pt>
                <c:pt idx="2">
                  <c:v>0.24709897610921502</c:v>
                </c:pt>
                <c:pt idx="3">
                  <c:v>0.28611304954640615</c:v>
                </c:pt>
                <c:pt idx="4">
                  <c:v>0.2617994100294985</c:v>
                </c:pt>
                <c:pt idx="5">
                  <c:v>0.2542037586547972</c:v>
                </c:pt>
                <c:pt idx="6">
                  <c:v>0.2840646651270208</c:v>
                </c:pt>
                <c:pt idx="7">
                  <c:v>0.2761061946902655</c:v>
                </c:pt>
                <c:pt idx="8">
                  <c:v>0.2934256055363322</c:v>
                </c:pt>
                <c:pt idx="9">
                  <c:v>0.17117585848074923</c:v>
                </c:pt>
                <c:pt idx="10">
                  <c:v>0.15955325089748704</c:v>
                </c:pt>
                <c:pt idx="11">
                  <c:v>0.19705727798213346</c:v>
                </c:pt>
                <c:pt idx="12">
                  <c:v>0.2029126213592233</c:v>
                </c:pt>
                <c:pt idx="13">
                  <c:v>0.12713241267262387</c:v>
                </c:pt>
                <c:pt idx="14">
                  <c:v>0.19492549335481274</c:v>
                </c:pt>
                <c:pt idx="15">
                  <c:v>0.27333894028595457</c:v>
                </c:pt>
                <c:pt idx="16">
                  <c:v>0.25968634686346864</c:v>
                </c:pt>
                <c:pt idx="17">
                  <c:v>0.2777268560953254</c:v>
                </c:pt>
                <c:pt idx="18">
                  <c:v>0.3055813953488372</c:v>
                </c:pt>
                <c:pt idx="19">
                  <c:v>0.22551390568319227</c:v>
                </c:pt>
                <c:pt idx="20">
                  <c:v>0.16868442292171107</c:v>
                </c:pt>
                <c:pt idx="21">
                  <c:v>0.20489366567573747</c:v>
                </c:pt>
                <c:pt idx="22">
                  <c:v>0.13228651322865131</c:v>
                </c:pt>
                <c:pt idx="23">
                  <c:v>0.10485723662618969</c:v>
                </c:pt>
                <c:pt idx="24">
                  <c:v>0.11676646706586827</c:v>
                </c:pt>
                <c:pt idx="25">
                  <c:v>0.11928150435026663</c:v>
                </c:pt>
                <c:pt idx="26">
                  <c:v>0.13496503496503495</c:v>
                </c:pt>
                <c:pt idx="27">
                  <c:v>0.1738949124270225</c:v>
                </c:pt>
                <c:pt idx="28">
                  <c:v>0.253388332351208</c:v>
                </c:pt>
                <c:pt idx="29">
                  <c:v>0.2849673202614379</c:v>
                </c:pt>
                <c:pt idx="30">
                  <c:v>0.2894039735099338</c:v>
                </c:pt>
                <c:pt idx="31">
                  <c:v>0.17029791018230325</c:v>
                </c:pt>
                <c:pt idx="32">
                  <c:v>0.14064914992272023</c:v>
                </c:pt>
                <c:pt idx="33">
                  <c:v>0.27335375191424194</c:v>
                </c:pt>
                <c:pt idx="34">
                  <c:v>0.2640722724113968</c:v>
                </c:pt>
                <c:pt idx="35">
                  <c:v>0.20924327069578466</c:v>
                </c:pt>
                <c:pt idx="36">
                  <c:v>0.1779806046776954</c:v>
                </c:pt>
                <c:pt idx="37">
                  <c:v>0.17869762746087833</c:v>
                </c:pt>
                <c:pt idx="38">
                  <c:v>0.17188276204669647</c:v>
                </c:pt>
                <c:pt idx="39">
                  <c:v>0.25791044776119404</c:v>
                </c:pt>
                <c:pt idx="40">
                  <c:v>0.2645367412140575</c:v>
                </c:pt>
                <c:pt idx="41">
                  <c:v>0.20742247076766648</c:v>
                </c:pt>
                <c:pt idx="42">
                  <c:v>0.2773497688751926</c:v>
                </c:pt>
                <c:pt idx="43">
                  <c:v>0.3147905759162304</c:v>
                </c:pt>
                <c:pt idx="44">
                  <c:v>0.34688847812692547</c:v>
                </c:pt>
                <c:pt idx="45">
                  <c:v>0.30537974683544306</c:v>
                </c:pt>
                <c:pt idx="46">
                  <c:v>0.2</c:v>
                </c:pt>
                <c:pt idx="47">
                  <c:v>0.20254777070063695</c:v>
                </c:pt>
                <c:pt idx="48">
                  <c:v>0.17830109335576114</c:v>
                </c:pt>
                <c:pt idx="49">
                  <c:v>0.218172740888667</c:v>
                </c:pt>
                <c:pt idx="50">
                  <c:v>0.27099841521394613</c:v>
                </c:pt>
                <c:pt idx="51">
                  <c:v>0.22420313344138304</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43163357660250423</c:v>
                </c:pt>
              </c:numCache>
            </c:numRef>
          </c:xVal>
          <c:yVal>
            <c:numRef>
              <c:f>Sheet1!$B$136:$B$137</c:f>
              <c:numCache>
                <c:formatCode>General</c:formatCode>
                <c:ptCount val="2"/>
                <c:pt idx="0">
                  <c:v>0.25142318331516184</c:v>
                </c:pt>
                <c:pt idx="1">
                  <c:v>0.25142318331516184</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43163357660250423</c:v>
                </c:pt>
                <c:pt idx="1">
                  <c:v>0.43163357660250423</c:v>
                </c:pt>
              </c:numCache>
            </c:numRef>
          </c:xVal>
          <c:yVal>
            <c:numRef>
              <c:f>Sheet1!$B$140:$B$141</c:f>
              <c:numCache>
                <c:formatCode>General</c:formatCode>
                <c:ptCount val="2"/>
                <c:pt idx="0">
                  <c:v>0.2514231833151618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43163357660250423</c:v>
                </c:pt>
              </c:numCache>
            </c:numRef>
          </c:xVal>
          <c:yVal>
            <c:numRef>
              <c:f>Sheet1!$B$144:$B$145</c:f>
              <c:numCache>
                <c:formatCode>General</c:formatCode>
                <c:ptCount val="2"/>
                <c:pt idx="0">
                  <c:v>0.25142318331516184</c:v>
                </c:pt>
                <c:pt idx="1">
                  <c:v>0.25142318331516184</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3163357660250423</c:v>
                </c:pt>
                <c:pt idx="1">
                  <c:v>0.43163357660250423</c:v>
                </c:pt>
              </c:numCache>
            </c:numRef>
          </c:xVal>
          <c:yVal>
            <c:numRef>
              <c:f>Sheet1!$B$148:$B$149</c:f>
              <c:numCache>
                <c:formatCode>General</c:formatCode>
                <c:ptCount val="2"/>
                <c:pt idx="0">
                  <c:v>0.251423183315161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43163357660250423</c:v>
                </c:pt>
              </c:numCache>
            </c:numRef>
          </c:xVal>
          <c:yVal>
            <c:numRef>
              <c:f>Sheet1!$B$152:$B$153</c:f>
              <c:numCache>
                <c:formatCode>General</c:formatCode>
                <c:ptCount val="2"/>
                <c:pt idx="0">
                  <c:v>0.25142318331516184</c:v>
                </c:pt>
                <c:pt idx="1">
                  <c:v>0.25142318331516184</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3163357660250423</c:v>
                </c:pt>
                <c:pt idx="1">
                  <c:v>0.43163357660250423</c:v>
                </c:pt>
              </c:numCache>
            </c:numRef>
          </c:xVal>
          <c:yVal>
            <c:numRef>
              <c:f>Sheet1!$B$156:$B$157</c:f>
              <c:numCache>
                <c:formatCode>General</c:formatCode>
                <c:ptCount val="2"/>
                <c:pt idx="0">
                  <c:v>0.251423183315161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3728391538655725</c:v>
                </c:pt>
                <c:pt idx="1">
                  <c:v>0.4154543917882931</c:v>
                </c:pt>
                <c:pt idx="2">
                  <c:v>0.414574764071415</c:v>
                </c:pt>
                <c:pt idx="3">
                  <c:v>0.41285321960709875</c:v>
                </c:pt>
                <c:pt idx="4">
                  <c:v>0.4178085698453236</c:v>
                </c:pt>
                <c:pt idx="5">
                  <c:v>0.41919619233264466</c:v>
                </c:pt>
                <c:pt idx="6">
                  <c:v>0.41184328358208955</c:v>
                </c:pt>
                <c:pt idx="7">
                  <c:v>0.41477158678993536</c:v>
                </c:pt>
                <c:pt idx="8">
                  <c:v>0.4012873289016248</c:v>
                </c:pt>
                <c:pt idx="9">
                  <c:v>0.4507572256231196</c:v>
                </c:pt>
                <c:pt idx="10">
                  <c:v>0.5156987428926412</c:v>
                </c:pt>
                <c:pt idx="11">
                  <c:v>0.5173400480714204</c:v>
                </c:pt>
                <c:pt idx="12">
                  <c:v>0.5157154766075766</c:v>
                </c:pt>
                <c:pt idx="13">
                  <c:v>0.5190158075792333</c:v>
                </c:pt>
                <c:pt idx="14">
                  <c:v>0.42285088414151134</c:v>
                </c:pt>
                <c:pt idx="15">
                  <c:v>0.4063890429139584</c:v>
                </c:pt>
                <c:pt idx="16">
                  <c:v>0.4058480573234234</c:v>
                </c:pt>
                <c:pt idx="17">
                  <c:v>0.40895554374857684</c:v>
                </c:pt>
                <c:pt idx="18">
                  <c:v>0.42852265376045234</c:v>
                </c:pt>
                <c:pt idx="19">
                  <c:v>0.4450716713462391</c:v>
                </c:pt>
                <c:pt idx="20">
                  <c:v>0.5163699328813036</c:v>
                </c:pt>
                <c:pt idx="21">
                  <c:v>0.5586085480296148</c:v>
                </c:pt>
                <c:pt idx="22">
                  <c:v>0.5256035418929078</c:v>
                </c:pt>
                <c:pt idx="23">
                  <c:v>0.524432124298302</c:v>
                </c:pt>
                <c:pt idx="24">
                  <c:v>0.5221884624845397</c:v>
                </c:pt>
                <c:pt idx="25">
                  <c:v>0.5231074154778057</c:v>
                </c:pt>
                <c:pt idx="26">
                  <c:v>0.5114437653233882</c:v>
                </c:pt>
                <c:pt idx="27">
                  <c:v>0.4802438982140692</c:v>
                </c:pt>
                <c:pt idx="28">
                  <c:v>0.4489733959682244</c:v>
                </c:pt>
                <c:pt idx="29">
                  <c:v>0.4585485336489604</c:v>
                </c:pt>
                <c:pt idx="30">
                  <c:v>0.45871440617500164</c:v>
                </c:pt>
                <c:pt idx="31">
                  <c:v>0.5145190701665671</c:v>
                </c:pt>
                <c:pt idx="32">
                  <c:v>0.4517446039167451</c:v>
                </c:pt>
                <c:pt idx="33">
                  <c:v>0.4430481323229466</c:v>
                </c:pt>
                <c:pt idx="34">
                  <c:v>0.44755909838109326</c:v>
                </c:pt>
                <c:pt idx="35">
                  <c:v>0.4551730882065324</c:v>
                </c:pt>
                <c:pt idx="36">
                  <c:v>0.4436548535667827</c:v>
                </c:pt>
                <c:pt idx="37">
                  <c:v>0.44262724855773855</c:v>
                </c:pt>
                <c:pt idx="38">
                  <c:v>0.4517902000724513</c:v>
                </c:pt>
                <c:pt idx="39">
                  <c:v>0.4465700768775872</c:v>
                </c:pt>
                <c:pt idx="40">
                  <c:v>0.44609592166950174</c:v>
                </c:pt>
                <c:pt idx="41">
                  <c:v>0.45343510774028917</c:v>
                </c:pt>
                <c:pt idx="42">
                  <c:v>0.4127516227832654</c:v>
                </c:pt>
                <c:pt idx="43">
                  <c:v>0.4160436813839008</c:v>
                </c:pt>
                <c:pt idx="44">
                  <c:v>0.4103888557806913</c:v>
                </c:pt>
                <c:pt idx="45">
                  <c:v>0.4163814144541017</c:v>
                </c:pt>
                <c:pt idx="46">
                  <c:v>0.4840647060561009</c:v>
                </c:pt>
                <c:pt idx="47">
                  <c:v>0.5065941328493362</c:v>
                </c:pt>
                <c:pt idx="48">
                  <c:v>0.45987409866086754</c:v>
                </c:pt>
                <c:pt idx="49">
                  <c:v>0.46650899686043457</c:v>
                </c:pt>
                <c:pt idx="50">
                  <c:v>0.4470223027088147</c:v>
                </c:pt>
                <c:pt idx="51">
                  <c:v>0.45074542451192795</c:v>
                </c:pt>
                <c:pt idx="52">
                  <c:v>0.43163357660250423</c:v>
                </c:pt>
                <c:pt idx="53">
                  <c:v>0.43163357660250423</c:v>
                </c:pt>
                <c:pt idx="54">
                  <c:v>0.43163357660250423</c:v>
                </c:pt>
              </c:numCache>
            </c:numRef>
          </c:xVal>
          <c:yVal>
            <c:numRef>
              <c:f>Sheet1!$B$160:$B$214</c:f>
              <c:numCache>
                <c:formatCode>General</c:formatCode>
                <c:ptCount val="55"/>
                <c:pt idx="0">
                  <c:v>0.24532918019946387</c:v>
                </c:pt>
                <c:pt idx="1">
                  <c:v>0.268872756948786</c:v>
                </c:pt>
                <c:pt idx="2">
                  <c:v>0.26982145299201055</c:v>
                </c:pt>
                <c:pt idx="3">
                  <c:v>0.2716781730454992</c:v>
                </c:pt>
                <c:pt idx="4">
                  <c:v>0.26633372894307744</c:v>
                </c:pt>
                <c:pt idx="5">
                  <c:v>0.2648371504042803</c:v>
                </c:pt>
                <c:pt idx="6">
                  <c:v>0.27276740919898995</c:v>
                </c:pt>
                <c:pt idx="7">
                  <c:v>0.2696091757630259</c:v>
                </c:pt>
                <c:pt idx="8">
                  <c:v>0.28415221693715104</c:v>
                </c:pt>
                <c:pt idx="9">
                  <c:v>0.23079794628617972</c:v>
                </c:pt>
                <c:pt idx="10">
                  <c:v>0.1607572241801789</c:v>
                </c:pt>
                <c:pt idx="11">
                  <c:v>0.15898704379709794</c:v>
                </c:pt>
                <c:pt idx="12">
                  <c:v>0.16073917653474545</c:v>
                </c:pt>
                <c:pt idx="13">
                  <c:v>0.15717970373271217</c:v>
                </c:pt>
                <c:pt idx="14">
                  <c:v>0.2608954923690122</c:v>
                </c:pt>
                <c:pt idx="15">
                  <c:v>0.2786499165840632</c:v>
                </c:pt>
                <c:pt idx="16">
                  <c:v>0.2792333803373469</c:v>
                </c:pt>
                <c:pt idx="17">
                  <c:v>0.27588189422640425</c:v>
                </c:pt>
                <c:pt idx="18">
                  <c:v>0.25477837567029377</c:v>
                </c:pt>
                <c:pt idx="19">
                  <c:v>0.2369299300135212</c:v>
                </c:pt>
                <c:pt idx="20">
                  <c:v>0.1600333323856411</c:v>
                </c:pt>
                <c:pt idx="21">
                  <c:v>0.1144781431918458</c:v>
                </c:pt>
                <c:pt idx="22">
                  <c:v>0.15007470083514673</c:v>
                </c:pt>
                <c:pt idx="23">
                  <c:v>0.15133809808337173</c:v>
                </c:pt>
                <c:pt idx="24">
                  <c:v>0.15375793211566535</c:v>
                </c:pt>
                <c:pt idx="25">
                  <c:v>0.15276682297722777</c:v>
                </c:pt>
                <c:pt idx="26">
                  <c:v>0.1653463023850883</c:v>
                </c:pt>
                <c:pt idx="27">
                  <c:v>0.1989959815707263</c:v>
                </c:pt>
                <c:pt idx="28">
                  <c:v>0.23272184216043884</c:v>
                </c:pt>
                <c:pt idx="29">
                  <c:v>0.2223948651260128</c:v>
                </c:pt>
                <c:pt idx="30">
                  <c:v>0.22221596829714357</c:v>
                </c:pt>
                <c:pt idx="31">
                  <c:v>0.16202952475240096</c:v>
                </c:pt>
                <c:pt idx="32">
                  <c:v>0.2297330390960643</c:v>
                </c:pt>
                <c:pt idx="33">
                  <c:v>0.23911235722434332</c:v>
                </c:pt>
                <c:pt idx="34">
                  <c:v>0.23424719032661</c:v>
                </c:pt>
                <c:pt idx="35">
                  <c:v>0.22603535038347727</c:v>
                </c:pt>
                <c:pt idx="36">
                  <c:v>0.23845799625739877</c:v>
                </c:pt>
                <c:pt idx="37">
                  <c:v>0.23956628876270758</c:v>
                </c:pt>
                <c:pt idx="38">
                  <c:v>0.22968386273238822</c:v>
                </c:pt>
                <c:pt idx="39">
                  <c:v>0.23531386975136742</c:v>
                </c:pt>
                <c:pt idx="40">
                  <c:v>0.23582525560376133</c:v>
                </c:pt>
                <c:pt idx="41">
                  <c:v>0.22790979699297975</c:v>
                </c:pt>
                <c:pt idx="42">
                  <c:v>0.2717877472470909</c:v>
                </c:pt>
                <c:pt idx="43">
                  <c:v>0.26823719636225674</c:v>
                </c:pt>
                <c:pt idx="44">
                  <c:v>0.27433603860193717</c:v>
                </c:pt>
                <c:pt idx="45">
                  <c:v>0.26787294450750293</c:v>
                </c:pt>
                <c:pt idx="46">
                  <c:v>0.1948751640792975</c:v>
                </c:pt>
                <c:pt idx="47">
                  <c:v>0.17057672776954003</c:v>
                </c:pt>
                <c:pt idx="48">
                  <c:v>0.2209652168126372</c:v>
                </c:pt>
                <c:pt idx="49">
                  <c:v>0.21380934672311003</c:v>
                </c:pt>
                <c:pt idx="50">
                  <c:v>0.23482613516945572</c:v>
                </c:pt>
                <c:pt idx="51">
                  <c:v>0.2308106740200589</c:v>
                </c:pt>
                <c:pt idx="52">
                  <c:v>0.25142318331516184</c:v>
                </c:pt>
                <c:pt idx="53">
                  <c:v>0.25142318331516184</c:v>
                </c:pt>
                <c:pt idx="54">
                  <c:v>0.251423183315161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utz</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16020025031289"/>
          <c:min val="0.071398622342018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26.8893</c:v>
                </c:pt>
                <c:pt idx="1">
                  <c:v>28.2412</c:v>
                </c:pt>
                <c:pt idx="2">
                  <c:v>28.6027</c:v>
                </c:pt>
                <c:pt idx="3">
                  <c:v>26.4161</c:v>
                </c:pt>
                <c:pt idx="4">
                  <c:v>27.213</c:v>
                </c:pt>
                <c:pt idx="5">
                  <c:v>27.6765</c:v>
                </c:pt>
                <c:pt idx="6">
                  <c:v>28.3209</c:v>
                </c:pt>
                <c:pt idx="7">
                  <c:v>28.4741</c:v>
                </c:pt>
                <c:pt idx="8">
                  <c:v>27.5158</c:v>
                </c:pt>
                <c:pt idx="9">
                  <c:v>27.616</c:v>
                </c:pt>
                <c:pt idx="10">
                  <c:v>28.1552</c:v>
                </c:pt>
                <c:pt idx="11">
                  <c:v>28.382</c:v>
                </c:pt>
                <c:pt idx="12">
                  <c:v>28.3089</c:v>
                </c:pt>
                <c:pt idx="13">
                  <c:v>27.9309</c:v>
                </c:pt>
                <c:pt idx="14">
                  <c:v>27.5598</c:v>
                </c:pt>
                <c:pt idx="15">
                  <c:v>28.145</c:v>
                </c:pt>
                <c:pt idx="16">
                  <c:v>27.5</c:v>
                </c:pt>
                <c:pt idx="17">
                  <c:v>27.3696</c:v>
                </c:pt>
                <c:pt idx="18">
                  <c:v>27.3438</c:v>
                </c:pt>
                <c:pt idx="19">
                  <c:v>27.4832</c:v>
                </c:pt>
                <c:pt idx="20">
                  <c:v>27.5714</c:v>
                </c:pt>
                <c:pt idx="21">
                  <c:v>27.6639</c:v>
                </c:pt>
                <c:pt idx="22">
                  <c:v>27.6395</c:v>
                </c:pt>
                <c:pt idx="23">
                  <c:v>27.9298</c:v>
                </c:pt>
                <c:pt idx="24">
                  <c:v>27.7889</c:v>
                </c:pt>
                <c:pt idx="25">
                  <c:v>27.4812</c:v>
                </c:pt>
                <c:pt idx="26">
                  <c:v>27.4899</c:v>
                </c:pt>
                <c:pt idx="27">
                  <c:v>28.4181</c:v>
                </c:pt>
                <c:pt idx="28">
                  <c:v>28.2288</c:v>
                </c:pt>
                <c:pt idx="29">
                  <c:v>27.934</c:v>
                </c:pt>
                <c:pt idx="30">
                  <c:v>28.6825</c:v>
                </c:pt>
                <c:pt idx="31">
                  <c:v>28.057</c:v>
                </c:pt>
                <c:pt idx="32">
                  <c:v>27.8319</c:v>
                </c:pt>
                <c:pt idx="33">
                  <c:v>28.4943</c:v>
                </c:pt>
                <c:pt idx="34">
                  <c:v>28.3182</c:v>
                </c:pt>
                <c:pt idx="35">
                  <c:v>27.0554</c:v>
                </c:pt>
                <c:pt idx="36">
                  <c:v>27.0752</c:v>
                </c:pt>
                <c:pt idx="37">
                  <c:v>27.3892</c:v>
                </c:pt>
                <c:pt idx="38">
                  <c:v>27.6129</c:v>
                </c:pt>
                <c:pt idx="39">
                  <c:v>27.8056</c:v>
                </c:pt>
                <c:pt idx="40">
                  <c:v>27.9895</c:v>
                </c:pt>
                <c:pt idx="41">
                  <c:v>28.6529</c:v>
                </c:pt>
                <c:pt idx="42">
                  <c:v>28.273</c:v>
                </c:pt>
                <c:pt idx="43">
                  <c:v>27.9958</c:v>
                </c:pt>
                <c:pt idx="44">
                  <c:v>28.9467</c:v>
                </c:pt>
                <c:pt idx="45">
                  <c:v>27.2923</c:v>
                </c:pt>
                <c:pt idx="46">
                  <c:v>27.7206</c:v>
                </c:pt>
                <c:pt idx="47">
                  <c:v>27.4362</c:v>
                </c:pt>
                <c:pt idx="48">
                  <c:v>28.1898</c:v>
                </c:pt>
                <c:pt idx="49">
                  <c:v>28.1671</c:v>
                </c:pt>
                <c:pt idx="50">
                  <c:v>28.1269</c:v>
                </c:pt>
                <c:pt idx="51">
                  <c:v>28.2907</c:v>
                </c:pt>
                <c:pt idx="52">
                  <c:v>30.9574</c:v>
                </c:pt>
                <c:pt idx="53">
                  <c:v>29.4699</c:v>
                </c:pt>
                <c:pt idx="54">
                  <c:v>29.7478</c:v>
                </c:pt>
                <c:pt idx="55">
                  <c:v>30.2387</c:v>
                </c:pt>
                <c:pt idx="56">
                  <c:v>29.9379</c:v>
                </c:pt>
                <c:pt idx="57">
                  <c:v>29.6376</c:v>
                </c:pt>
                <c:pt idx="58">
                  <c:v>30.4327</c:v>
                </c:pt>
                <c:pt idx="59">
                  <c:v>29.7805</c:v>
                </c:pt>
                <c:pt idx="60">
                  <c:v>30.1243</c:v>
                </c:pt>
                <c:pt idx="61">
                  <c:v>30.1383</c:v>
                </c:pt>
                <c:pt idx="62">
                  <c:v>30.401</c:v>
                </c:pt>
                <c:pt idx="63">
                  <c:v>30.4841</c:v>
                </c:pt>
                <c:pt idx="64">
                  <c:v>30.098</c:v>
                </c:pt>
                <c:pt idx="65">
                  <c:v>29.8301</c:v>
                </c:pt>
                <c:pt idx="66">
                  <c:v>29.7507</c:v>
                </c:pt>
                <c:pt idx="67">
                  <c:v>31.7429</c:v>
                </c:pt>
                <c:pt idx="68">
                  <c:v>31.9048</c:v>
                </c:pt>
                <c:pt idx="69">
                  <c:v>31.5975</c:v>
                </c:pt>
                <c:pt idx="70">
                  <c:v>31.0656</c:v>
                </c:pt>
                <c:pt idx="71">
                  <c:v>30.4236</c:v>
                </c:pt>
                <c:pt idx="72">
                  <c:v>30.379</c:v>
                </c:pt>
                <c:pt idx="73">
                  <c:v>30.0268</c:v>
                </c:pt>
                <c:pt idx="74">
                  <c:v>30.4875</c:v>
                </c:pt>
                <c:pt idx="75">
                  <c:v>27.2786</c:v>
                </c:pt>
                <c:pt idx="76">
                  <c:v>27.7821</c:v>
                </c:pt>
                <c:pt idx="77">
                  <c:v>27.7659</c:v>
                </c:pt>
              </c:numCache>
            </c:numRef>
          </c:xVal>
          <c:yVal>
            <c:numRef>
              <c:f>Sheet1!$B$2:$B$79</c:f>
              <c:numCache>
                <c:formatCode>General</c:formatCode>
                <c:ptCount val="78"/>
                <c:pt idx="0">
                  <c:v>0.08924827792752321</c:v>
                </c:pt>
                <c:pt idx="1">
                  <c:v>0.09693877551020408</c:v>
                </c:pt>
                <c:pt idx="2">
                  <c:v>0.09098294069861901</c:v>
                </c:pt>
                <c:pt idx="3">
                  <c:v>0.11330798479087452</c:v>
                </c:pt>
                <c:pt idx="4">
                  <c:v>0.14393602843180808</c:v>
                </c:pt>
                <c:pt idx="5">
                  <c:v>0.16862037871956717</c:v>
                </c:pt>
                <c:pt idx="6">
                  <c:v>0.16183470359151883</c:v>
                </c:pt>
                <c:pt idx="7">
                  <c:v>0.16343825665859565</c:v>
                </c:pt>
                <c:pt idx="8">
                  <c:v>0.20150115473441108</c:v>
                </c:pt>
                <c:pt idx="9">
                  <c:v>0.20556501987507098</c:v>
                </c:pt>
                <c:pt idx="10">
                  <c:v>0.18739903069466882</c:v>
                </c:pt>
                <c:pt idx="11">
                  <c:v>0.19915478077126256</c:v>
                </c:pt>
                <c:pt idx="12">
                  <c:v>0.12823529411764706</c:v>
                </c:pt>
                <c:pt idx="13">
                  <c:v>0.24278972207656005</c:v>
                </c:pt>
                <c:pt idx="14">
                  <c:v>0.2575360419397117</c:v>
                </c:pt>
                <c:pt idx="15">
                  <c:v>0.2452928870292887</c:v>
                </c:pt>
                <c:pt idx="16">
                  <c:v>0.2360248447204969</c:v>
                </c:pt>
                <c:pt idx="17">
                  <c:v>0.2532051282051282</c:v>
                </c:pt>
                <c:pt idx="18">
                  <c:v>0.26156217882836585</c:v>
                </c:pt>
                <c:pt idx="19">
                  <c:v>0.19467101685698748</c:v>
                </c:pt>
                <c:pt idx="20">
                  <c:v>0.17033976124885217</c:v>
                </c:pt>
                <c:pt idx="21">
                  <c:v>0.11894052973513243</c:v>
                </c:pt>
                <c:pt idx="22">
                  <c:v>0.2067435669920142</c:v>
                </c:pt>
                <c:pt idx="23">
                  <c:v>0.21729079981507166</c:v>
                </c:pt>
                <c:pt idx="24">
                  <c:v>0.22478120681713495</c:v>
                </c:pt>
                <c:pt idx="25">
                  <c:v>0.2304204451772465</c:v>
                </c:pt>
                <c:pt idx="26">
                  <c:v>0.1488162344983089</c:v>
                </c:pt>
                <c:pt idx="27">
                  <c:v>0.21134328358208956</c:v>
                </c:pt>
                <c:pt idx="28">
                  <c:v>0.17037861915367483</c:v>
                </c:pt>
                <c:pt idx="29">
                  <c:v>0.18441874619598295</c:v>
                </c:pt>
                <c:pt idx="30">
                  <c:v>0.19811320754716982</c:v>
                </c:pt>
                <c:pt idx="31">
                  <c:v>0.21209302325581394</c:v>
                </c:pt>
                <c:pt idx="32">
                  <c:v>0.22924901185770752</c:v>
                </c:pt>
                <c:pt idx="33">
                  <c:v>0.22250639386189258</c:v>
                </c:pt>
                <c:pt idx="34">
                  <c:v>0.19057931781266918</c:v>
                </c:pt>
                <c:pt idx="35">
                  <c:v>0.19935543278084714</c:v>
                </c:pt>
                <c:pt idx="36">
                  <c:v>0.14472252448313383</c:v>
                </c:pt>
                <c:pt idx="37">
                  <c:v>0.21796028880866425</c:v>
                </c:pt>
                <c:pt idx="38">
                  <c:v>0.18260081558676938</c:v>
                </c:pt>
                <c:pt idx="39">
                  <c:v>0.13659099653712967</c:v>
                </c:pt>
                <c:pt idx="40">
                  <c:v>0.23497536945812808</c:v>
                </c:pt>
                <c:pt idx="41">
                  <c:v>0.21879978757302176</c:v>
                </c:pt>
                <c:pt idx="42">
                  <c:v>0.18309201307800094</c:v>
                </c:pt>
                <c:pt idx="43">
                  <c:v>0.27650849443468073</c:v>
                </c:pt>
                <c:pt idx="44">
                  <c:v>0.22409115572436245</c:v>
                </c:pt>
                <c:pt idx="45">
                  <c:v>0.17182564750473783</c:v>
                </c:pt>
                <c:pt idx="46">
                  <c:v>0.10269687162891046</c:v>
                </c:pt>
                <c:pt idx="47">
                  <c:v>0.14402003757044457</c:v>
                </c:pt>
                <c:pt idx="48">
                  <c:v>0.1118757373181282</c:v>
                </c:pt>
                <c:pt idx="49">
                  <c:v>0.10975776652524977</c:v>
                </c:pt>
                <c:pt idx="50">
                  <c:v>0.10205754570046725</c:v>
                </c:pt>
                <c:pt idx="51">
                  <c:v>0.12135792568831863</c:v>
                </c:pt>
                <c:pt idx="52">
                  <c:v>0.11938400678157672</c:v>
                </c:pt>
                <c:pt idx="53">
                  <c:v>0.1440972222222222</c:v>
                </c:pt>
                <c:pt idx="54">
                  <c:v>0.15979137031768612</c:v>
                </c:pt>
                <c:pt idx="55">
                  <c:v>0.1513671875</c:v>
                </c:pt>
                <c:pt idx="56">
                  <c:v>0.18055555555555555</c:v>
                </c:pt>
                <c:pt idx="57">
                  <c:v>0.21489482660602616</c:v>
                </c:pt>
                <c:pt idx="58">
                  <c:v>0.22819528250137136</c:v>
                </c:pt>
                <c:pt idx="59">
                  <c:v>0.24905087319665908</c:v>
                </c:pt>
                <c:pt idx="60">
                  <c:v>0.19592298980747452</c:v>
                </c:pt>
                <c:pt idx="61">
                  <c:v>0.22625698324022347</c:v>
                </c:pt>
                <c:pt idx="62">
                  <c:v>0.20458177943526903</c:v>
                </c:pt>
                <c:pt idx="63">
                  <c:v>0.20104895104895104</c:v>
                </c:pt>
                <c:pt idx="64">
                  <c:v>0.15848923402753265</c:v>
                </c:pt>
                <c:pt idx="65">
                  <c:v>0.26258992805755393</c:v>
                </c:pt>
                <c:pt idx="66">
                  <c:v>0.2736757624398074</c:v>
                </c:pt>
                <c:pt idx="67">
                  <c:v>0.29535864978902954</c:v>
                </c:pt>
                <c:pt idx="68">
                  <c:v>0.20837927232635062</c:v>
                </c:pt>
                <c:pt idx="69">
                  <c:v>0.2735527809307605</c:v>
                </c:pt>
                <c:pt idx="70">
                  <c:v>0.28444444444444444</c:v>
                </c:pt>
                <c:pt idx="71">
                  <c:v>0.16885315277190013</c:v>
                </c:pt>
                <c:pt idx="72">
                  <c:v>0.12124425592082008</c:v>
                </c:pt>
                <c:pt idx="73">
                  <c:v>0.15714833269451897</c:v>
                </c:pt>
                <c:pt idx="74">
                  <c:v>0.19230769230769232</c:v>
                </c:pt>
                <c:pt idx="75">
                  <c:v>0.40133500208594075</c:v>
                </c:pt>
                <c:pt idx="76">
                  <c:v>0.33638676844783716</c:v>
                </c:pt>
                <c:pt idx="77">
                  <c:v>0.25590872045639773</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27.8887</c:v>
                </c:pt>
                <c:pt idx="1">
                  <c:v>27.7735</c:v>
                </c:pt>
                <c:pt idx="2">
                  <c:v>27.9088</c:v>
                </c:pt>
                <c:pt idx="3">
                  <c:v>27.8415</c:v>
                </c:pt>
                <c:pt idx="4">
                  <c:v>27.7465</c:v>
                </c:pt>
                <c:pt idx="5">
                  <c:v>28.0428</c:v>
                </c:pt>
                <c:pt idx="6">
                  <c:v>27.5935</c:v>
                </c:pt>
                <c:pt idx="7">
                  <c:v>28.1026</c:v>
                </c:pt>
                <c:pt idx="8">
                  <c:v>27.5873</c:v>
                </c:pt>
                <c:pt idx="9">
                  <c:v>30.234</c:v>
                </c:pt>
                <c:pt idx="10">
                  <c:v>29.885</c:v>
                </c:pt>
                <c:pt idx="11">
                  <c:v>29.832</c:v>
                </c:pt>
                <c:pt idx="12">
                  <c:v>29.8804</c:v>
                </c:pt>
                <c:pt idx="13">
                  <c:v>29.8882</c:v>
                </c:pt>
                <c:pt idx="14">
                  <c:v>27.7583</c:v>
                </c:pt>
                <c:pt idx="15">
                  <c:v>27.1908</c:v>
                </c:pt>
                <c:pt idx="16">
                  <c:v>27.357</c:v>
                </c:pt>
                <c:pt idx="17">
                  <c:v>27.4785</c:v>
                </c:pt>
                <c:pt idx="18">
                  <c:v>28.6164</c:v>
                </c:pt>
                <c:pt idx="19">
                  <c:v>30.118</c:v>
                </c:pt>
                <c:pt idx="20">
                  <c:v>30.1196</c:v>
                </c:pt>
                <c:pt idx="21">
                  <c:v>31.9833</c:v>
                </c:pt>
                <c:pt idx="22">
                  <c:v>30.2016</c:v>
                </c:pt>
                <c:pt idx="23">
                  <c:v>30.1753</c:v>
                </c:pt>
                <c:pt idx="24">
                  <c:v>30.145</c:v>
                </c:pt>
                <c:pt idx="25">
                  <c:v>30.5365</c:v>
                </c:pt>
                <c:pt idx="26">
                  <c:v>29.6218</c:v>
                </c:pt>
                <c:pt idx="27">
                  <c:v>30.4964</c:v>
                </c:pt>
                <c:pt idx="28">
                  <c:v>30.3163</c:v>
                </c:pt>
                <c:pt idx="29">
                  <c:v>30.6835</c:v>
                </c:pt>
                <c:pt idx="30">
                  <c:v>30.4096</c:v>
                </c:pt>
                <c:pt idx="31">
                  <c:v>30.2193</c:v>
                </c:pt>
                <c:pt idx="32">
                  <c:v>30.4835</c:v>
                </c:pt>
                <c:pt idx="33">
                  <c:v>29.7591</c:v>
                </c:pt>
                <c:pt idx="34">
                  <c:v>29.9763</c:v>
                </c:pt>
                <c:pt idx="35">
                  <c:v>30.2549</c:v>
                </c:pt>
                <c:pt idx="36">
                  <c:v>30.2853</c:v>
                </c:pt>
                <c:pt idx="37">
                  <c:v>29.8842</c:v>
                </c:pt>
                <c:pt idx="38">
                  <c:v>30.4306</c:v>
                </c:pt>
                <c:pt idx="39">
                  <c:v>30.206</c:v>
                </c:pt>
                <c:pt idx="40">
                  <c:v>30.1063</c:v>
                </c:pt>
                <c:pt idx="41">
                  <c:v>30.7059</c:v>
                </c:pt>
                <c:pt idx="42">
                  <c:v>27.6667</c:v>
                </c:pt>
                <c:pt idx="43">
                  <c:v>27.8649</c:v>
                </c:pt>
                <c:pt idx="44">
                  <c:v>27.5453</c:v>
                </c:pt>
                <c:pt idx="45">
                  <c:v>27.9775</c:v>
                </c:pt>
                <c:pt idx="46">
                  <c:v>29.499</c:v>
                </c:pt>
                <c:pt idx="47">
                  <c:v>30.8145</c:v>
                </c:pt>
                <c:pt idx="48">
                  <c:v>30.1344</c:v>
                </c:pt>
                <c:pt idx="49">
                  <c:v>30.357</c:v>
                </c:pt>
                <c:pt idx="50">
                  <c:v>29.9669</c:v>
                </c:pt>
                <c:pt idx="51">
                  <c:v>30.1253</c:v>
                </c:pt>
              </c:numCache>
            </c:numRef>
          </c:xVal>
          <c:yVal>
            <c:numRef>
              <c:f>Sheet1!$B$82:$B$133</c:f>
              <c:numCache>
                <c:formatCode>General</c:formatCode>
                <c:ptCount val="52"/>
                <c:pt idx="0">
                  <c:v>0.2486732373009856</c:v>
                </c:pt>
                <c:pt idx="1">
                  <c:v>0.2542096686583379</c:v>
                </c:pt>
                <c:pt idx="2">
                  <c:v>0.24709897610921502</c:v>
                </c:pt>
                <c:pt idx="3">
                  <c:v>0.28611304954640615</c:v>
                </c:pt>
                <c:pt idx="4">
                  <c:v>0.2617994100294985</c:v>
                </c:pt>
                <c:pt idx="5">
                  <c:v>0.2542037586547972</c:v>
                </c:pt>
                <c:pt idx="6">
                  <c:v>0.2840646651270208</c:v>
                </c:pt>
                <c:pt idx="7">
                  <c:v>0.2761061946902655</c:v>
                </c:pt>
                <c:pt idx="8">
                  <c:v>0.2934256055363322</c:v>
                </c:pt>
                <c:pt idx="9">
                  <c:v>0.17117585848074923</c:v>
                </c:pt>
                <c:pt idx="10">
                  <c:v>0.15955325089748704</c:v>
                </c:pt>
                <c:pt idx="11">
                  <c:v>0.19705727798213346</c:v>
                </c:pt>
                <c:pt idx="12">
                  <c:v>0.2029126213592233</c:v>
                </c:pt>
                <c:pt idx="13">
                  <c:v>0.12713241267262387</c:v>
                </c:pt>
                <c:pt idx="14">
                  <c:v>0.19492549335481274</c:v>
                </c:pt>
                <c:pt idx="15">
                  <c:v>0.27333894028595457</c:v>
                </c:pt>
                <c:pt idx="16">
                  <c:v>0.25968634686346864</c:v>
                </c:pt>
                <c:pt idx="17">
                  <c:v>0.2777268560953254</c:v>
                </c:pt>
                <c:pt idx="18">
                  <c:v>0.3055813953488372</c:v>
                </c:pt>
                <c:pt idx="19">
                  <c:v>0.22551390568319227</c:v>
                </c:pt>
                <c:pt idx="20">
                  <c:v>0.16868442292171107</c:v>
                </c:pt>
                <c:pt idx="21">
                  <c:v>0.20489366567573747</c:v>
                </c:pt>
                <c:pt idx="22">
                  <c:v>0.13228651322865131</c:v>
                </c:pt>
                <c:pt idx="23">
                  <c:v>0.10485723662618969</c:v>
                </c:pt>
                <c:pt idx="24">
                  <c:v>0.11676646706586827</c:v>
                </c:pt>
                <c:pt idx="25">
                  <c:v>0.11928150435026663</c:v>
                </c:pt>
                <c:pt idx="26">
                  <c:v>0.13496503496503495</c:v>
                </c:pt>
                <c:pt idx="27">
                  <c:v>0.1738949124270225</c:v>
                </c:pt>
                <c:pt idx="28">
                  <c:v>0.253388332351208</c:v>
                </c:pt>
                <c:pt idx="29">
                  <c:v>0.2849673202614379</c:v>
                </c:pt>
                <c:pt idx="30">
                  <c:v>0.2894039735099338</c:v>
                </c:pt>
                <c:pt idx="31">
                  <c:v>0.17029791018230325</c:v>
                </c:pt>
                <c:pt idx="32">
                  <c:v>0.14064914992272023</c:v>
                </c:pt>
                <c:pt idx="33">
                  <c:v>0.27335375191424194</c:v>
                </c:pt>
                <c:pt idx="34">
                  <c:v>0.2640722724113968</c:v>
                </c:pt>
                <c:pt idx="35">
                  <c:v>0.20924327069578466</c:v>
                </c:pt>
                <c:pt idx="36">
                  <c:v>0.1779806046776954</c:v>
                </c:pt>
                <c:pt idx="37">
                  <c:v>0.17869762746087833</c:v>
                </c:pt>
                <c:pt idx="38">
                  <c:v>0.17188276204669647</c:v>
                </c:pt>
                <c:pt idx="39">
                  <c:v>0.25791044776119404</c:v>
                </c:pt>
                <c:pt idx="40">
                  <c:v>0.2645367412140575</c:v>
                </c:pt>
                <c:pt idx="41">
                  <c:v>0.20742247076766648</c:v>
                </c:pt>
                <c:pt idx="42">
                  <c:v>0.2773497688751926</c:v>
                </c:pt>
                <c:pt idx="43">
                  <c:v>0.3147905759162304</c:v>
                </c:pt>
                <c:pt idx="44">
                  <c:v>0.34688847812692547</c:v>
                </c:pt>
                <c:pt idx="45">
                  <c:v>0.30537974683544306</c:v>
                </c:pt>
                <c:pt idx="46">
                  <c:v>0.2</c:v>
                </c:pt>
                <c:pt idx="47">
                  <c:v>0.20254777070063695</c:v>
                </c:pt>
                <c:pt idx="48">
                  <c:v>0.17830109335576114</c:v>
                </c:pt>
                <c:pt idx="49">
                  <c:v>0.218172740888667</c:v>
                </c:pt>
                <c:pt idx="50">
                  <c:v>0.27099841521394613</c:v>
                </c:pt>
                <c:pt idx="51">
                  <c:v>0.22420313344138304</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28.40618998543165</c:v>
                </c:pt>
              </c:numCache>
            </c:numRef>
          </c:xVal>
          <c:yVal>
            <c:numRef>
              <c:f>Sheet1!$B$136:$B$137</c:f>
              <c:numCache>
                <c:formatCode>General</c:formatCode>
                <c:ptCount val="2"/>
                <c:pt idx="0">
                  <c:v>0.25142318331516184</c:v>
                </c:pt>
                <c:pt idx="1">
                  <c:v>0.25142318331516184</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28.40618998543165</c:v>
                </c:pt>
                <c:pt idx="1">
                  <c:v>28.40618998543165</c:v>
                </c:pt>
              </c:numCache>
            </c:numRef>
          </c:xVal>
          <c:yVal>
            <c:numRef>
              <c:f>Sheet1!$B$140:$B$141</c:f>
              <c:numCache>
                <c:formatCode>General</c:formatCode>
                <c:ptCount val="2"/>
                <c:pt idx="0">
                  <c:v>0.2514231833151618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28.40618998543165</c:v>
                </c:pt>
              </c:numCache>
            </c:numRef>
          </c:xVal>
          <c:yVal>
            <c:numRef>
              <c:f>Sheet1!$B$144:$B$145</c:f>
              <c:numCache>
                <c:formatCode>General</c:formatCode>
                <c:ptCount val="2"/>
                <c:pt idx="0">
                  <c:v>0.25142318331516184</c:v>
                </c:pt>
                <c:pt idx="1">
                  <c:v>0.25142318331516184</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28.40618998543165</c:v>
                </c:pt>
                <c:pt idx="1">
                  <c:v>28.40618998543165</c:v>
                </c:pt>
              </c:numCache>
            </c:numRef>
          </c:xVal>
          <c:yVal>
            <c:numRef>
              <c:f>Sheet1!$B$148:$B$149</c:f>
              <c:numCache>
                <c:formatCode>General</c:formatCode>
                <c:ptCount val="2"/>
                <c:pt idx="0">
                  <c:v>0.251423183315161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28.40618998543165</c:v>
                </c:pt>
              </c:numCache>
            </c:numRef>
          </c:xVal>
          <c:yVal>
            <c:numRef>
              <c:f>Sheet1!$B$152:$B$153</c:f>
              <c:numCache>
                <c:formatCode>General</c:formatCode>
                <c:ptCount val="2"/>
                <c:pt idx="0">
                  <c:v>0.25142318331516184</c:v>
                </c:pt>
                <c:pt idx="1">
                  <c:v>0.25142318331516184</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28.40618998543165</c:v>
                </c:pt>
                <c:pt idx="1">
                  <c:v>28.40618998543165</c:v>
                </c:pt>
              </c:numCache>
            </c:numRef>
          </c:xVal>
          <c:yVal>
            <c:numRef>
              <c:f>Sheet1!$B$156:$B$157</c:f>
              <c:numCache>
                <c:formatCode>General</c:formatCode>
                <c:ptCount val="2"/>
                <c:pt idx="0">
                  <c:v>0.251423183315161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27.8887</c:v>
                </c:pt>
                <c:pt idx="1">
                  <c:v>27.7735</c:v>
                </c:pt>
                <c:pt idx="2">
                  <c:v>27.9088</c:v>
                </c:pt>
                <c:pt idx="3">
                  <c:v>27.8415</c:v>
                </c:pt>
                <c:pt idx="4">
                  <c:v>27.7465</c:v>
                </c:pt>
                <c:pt idx="5">
                  <c:v>28.0428</c:v>
                </c:pt>
                <c:pt idx="6">
                  <c:v>27.5935</c:v>
                </c:pt>
                <c:pt idx="7">
                  <c:v>28.1026</c:v>
                </c:pt>
                <c:pt idx="8">
                  <c:v>27.5873</c:v>
                </c:pt>
                <c:pt idx="9">
                  <c:v>30.234</c:v>
                </c:pt>
                <c:pt idx="10">
                  <c:v>29.885</c:v>
                </c:pt>
                <c:pt idx="11">
                  <c:v>29.832</c:v>
                </c:pt>
                <c:pt idx="12">
                  <c:v>29.8804</c:v>
                </c:pt>
                <c:pt idx="13">
                  <c:v>29.8882</c:v>
                </c:pt>
                <c:pt idx="14">
                  <c:v>27.7583</c:v>
                </c:pt>
                <c:pt idx="15">
                  <c:v>27.1908</c:v>
                </c:pt>
                <c:pt idx="16">
                  <c:v>27.357</c:v>
                </c:pt>
                <c:pt idx="17">
                  <c:v>27.4785</c:v>
                </c:pt>
                <c:pt idx="18">
                  <c:v>28.6164</c:v>
                </c:pt>
                <c:pt idx="19">
                  <c:v>30.118</c:v>
                </c:pt>
                <c:pt idx="20">
                  <c:v>30.1196</c:v>
                </c:pt>
                <c:pt idx="21">
                  <c:v>31.9833</c:v>
                </c:pt>
                <c:pt idx="22">
                  <c:v>30.2016</c:v>
                </c:pt>
                <c:pt idx="23">
                  <c:v>30.1753</c:v>
                </c:pt>
                <c:pt idx="24">
                  <c:v>30.145</c:v>
                </c:pt>
                <c:pt idx="25">
                  <c:v>30.5365</c:v>
                </c:pt>
                <c:pt idx="26">
                  <c:v>29.6218</c:v>
                </c:pt>
                <c:pt idx="27">
                  <c:v>30.4964</c:v>
                </c:pt>
                <c:pt idx="28">
                  <c:v>30.3163</c:v>
                </c:pt>
                <c:pt idx="29">
                  <c:v>30.6835</c:v>
                </c:pt>
                <c:pt idx="30">
                  <c:v>30.4096</c:v>
                </c:pt>
                <c:pt idx="31">
                  <c:v>30.2193</c:v>
                </c:pt>
                <c:pt idx="32">
                  <c:v>30.4835</c:v>
                </c:pt>
                <c:pt idx="33">
                  <c:v>29.7591</c:v>
                </c:pt>
                <c:pt idx="34">
                  <c:v>29.9763</c:v>
                </c:pt>
                <c:pt idx="35">
                  <c:v>30.2549</c:v>
                </c:pt>
                <c:pt idx="36">
                  <c:v>30.2853</c:v>
                </c:pt>
                <c:pt idx="37">
                  <c:v>29.8842</c:v>
                </c:pt>
                <c:pt idx="38">
                  <c:v>30.4306</c:v>
                </c:pt>
                <c:pt idx="39">
                  <c:v>30.206</c:v>
                </c:pt>
                <c:pt idx="40">
                  <c:v>30.1063</c:v>
                </c:pt>
                <c:pt idx="41">
                  <c:v>30.7059</c:v>
                </c:pt>
                <c:pt idx="42">
                  <c:v>27.6667</c:v>
                </c:pt>
                <c:pt idx="43">
                  <c:v>27.8649</c:v>
                </c:pt>
                <c:pt idx="44">
                  <c:v>27.5453</c:v>
                </c:pt>
                <c:pt idx="45">
                  <c:v>27.9775</c:v>
                </c:pt>
                <c:pt idx="46">
                  <c:v>29.499</c:v>
                </c:pt>
                <c:pt idx="47">
                  <c:v>30.8145</c:v>
                </c:pt>
                <c:pt idx="48">
                  <c:v>30.1344</c:v>
                </c:pt>
                <c:pt idx="49">
                  <c:v>30.357</c:v>
                </c:pt>
                <c:pt idx="50">
                  <c:v>29.9669</c:v>
                </c:pt>
                <c:pt idx="51">
                  <c:v>30.1253</c:v>
                </c:pt>
                <c:pt idx="52">
                  <c:v>28.40618998543165</c:v>
                </c:pt>
                <c:pt idx="53">
                  <c:v>28.40618998543165</c:v>
                </c:pt>
                <c:pt idx="54">
                  <c:v>28.40618998543165</c:v>
                </c:pt>
              </c:numCache>
            </c:numRef>
          </c:xVal>
          <c:yVal>
            <c:numRef>
              <c:f>Sheet1!$B$160:$B$214</c:f>
              <c:numCache>
                <c:formatCode>General</c:formatCode>
                <c:ptCount val="55"/>
                <c:pt idx="0">
                  <c:v>0.26611900651345144</c:v>
                </c:pt>
                <c:pt idx="1">
                  <c:v>0.2693904878562853</c:v>
                </c:pt>
                <c:pt idx="2">
                  <c:v>0.26554820117498823</c:v>
                </c:pt>
                <c:pt idx="3">
                  <c:v>0.26745940511919586</c:v>
                </c:pt>
                <c:pt idx="4">
                  <c:v>0.2701572412960118</c:v>
                </c:pt>
                <c:pt idx="5">
                  <c:v>0.2617428322519003</c:v>
                </c:pt>
                <c:pt idx="6">
                  <c:v>0.2745021774544629</c:v>
                </c:pt>
                <c:pt idx="7">
                  <c:v>0.2600446153742836</c:v>
                </c:pt>
                <c:pt idx="8">
                  <c:v>0.2746782467628447</c:v>
                </c:pt>
                <c:pt idx="9">
                  <c:v>0.1995165308767498</c:v>
                </c:pt>
                <c:pt idx="10">
                  <c:v>0.2094275290421055</c:v>
                </c:pt>
                <c:pt idx="11">
                  <c:v>0.21093263764601344</c:v>
                </c:pt>
                <c:pt idx="12">
                  <c:v>0.20955816110961456</c:v>
                </c:pt>
                <c:pt idx="13">
                  <c:v>0.2093366545603602</c:v>
                </c:pt>
                <c:pt idx="14">
                  <c:v>0.26982214164457574</c:v>
                </c:pt>
                <c:pt idx="15">
                  <c:v>0.28593816301660846</c:v>
                </c:pt>
                <c:pt idx="16">
                  <c:v>0.2812183696209576</c:v>
                </c:pt>
                <c:pt idx="17">
                  <c:v>0.27776797914218765</c:v>
                </c:pt>
                <c:pt idx="18">
                  <c:v>0.2454535813990406</c:v>
                </c:pt>
                <c:pt idx="19">
                  <c:v>0.20281073084002</c:v>
                </c:pt>
                <c:pt idx="20">
                  <c:v>0.2027652935991473</c:v>
                </c:pt>
                <c:pt idx="21">
                  <c:v>0.14983942746512569</c:v>
                </c:pt>
                <c:pt idx="22">
                  <c:v>0.20043663500442188</c:v>
                </c:pt>
                <c:pt idx="23">
                  <c:v>0.20118350965126663</c:v>
                </c:pt>
                <c:pt idx="24">
                  <c:v>0.20204397740029334</c:v>
                </c:pt>
                <c:pt idx="25">
                  <c:v>0.19092605252425665</c:v>
                </c:pt>
                <c:pt idx="26">
                  <c:v>0.21690195516566324</c:v>
                </c:pt>
                <c:pt idx="27">
                  <c:v>0.1920648233736284</c:v>
                </c:pt>
                <c:pt idx="28">
                  <c:v>0.19717935279936083</c:v>
                </c:pt>
                <c:pt idx="29">
                  <c:v>0.1867515060190782</c:v>
                </c:pt>
                <c:pt idx="30">
                  <c:v>0.1945297936909719</c:v>
                </c:pt>
                <c:pt idx="31">
                  <c:v>0.1999339855272677</c:v>
                </c:pt>
                <c:pt idx="32">
                  <c:v>0.1924311611281646</c:v>
                </c:pt>
                <c:pt idx="33">
                  <c:v>0.2130028719332755</c:v>
                </c:pt>
                <c:pt idx="34">
                  <c:v>0.2068347664848077</c:v>
                </c:pt>
                <c:pt idx="35">
                  <c:v>0.19892300691785036</c:v>
                </c:pt>
                <c:pt idx="36">
                  <c:v>0.1980596993412692</c:v>
                </c:pt>
                <c:pt idx="37">
                  <c:v>0.20945024766254194</c:v>
                </c:pt>
                <c:pt idx="38">
                  <c:v>0.193933429904518</c:v>
                </c:pt>
                <c:pt idx="39">
                  <c:v>0.20031168259202192</c:v>
                </c:pt>
                <c:pt idx="40">
                  <c:v>0.2031429906639015</c:v>
                </c:pt>
                <c:pt idx="41">
                  <c:v>0.1861153846468605</c:v>
                </c:pt>
                <c:pt idx="42">
                  <c:v>0.2724234236845373</c:v>
                </c:pt>
                <c:pt idx="43">
                  <c:v>0.2667948854714327</c:v>
                </c:pt>
                <c:pt idx="44">
                  <c:v>0.2758709743357527</c:v>
                </c:pt>
                <c:pt idx="45">
                  <c:v>0.26359723964501713</c:v>
                </c:pt>
                <c:pt idx="46">
                  <c:v>0.2203892634026423</c:v>
                </c:pt>
                <c:pt idx="47">
                  <c:v>0.18303133192262655</c:v>
                </c:pt>
                <c:pt idx="48">
                  <c:v>0.20234499912107484</c:v>
                </c:pt>
                <c:pt idx="49">
                  <c:v>0.19602354298466174</c:v>
                </c:pt>
                <c:pt idx="50">
                  <c:v>0.20710171027493474</c:v>
                </c:pt>
                <c:pt idx="51">
                  <c:v>0.20260342342853832</c:v>
                </c:pt>
                <c:pt idx="52">
                  <c:v>0.2514231833151619</c:v>
                </c:pt>
                <c:pt idx="53">
                  <c:v>0.2514231833151619</c:v>
                </c:pt>
                <c:pt idx="54">
                  <c:v>0.251423183315161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0"/>
          <c:min val="2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816020025031289"/>
          <c:min val="0.071398622342018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43425436471652284</c:v>
                </c:pt>
                <c:pt idx="1">
                  <c:v>0.439284221225808</c:v>
                </c:pt>
                <c:pt idx="2">
                  <c:v>0.4411051315091336</c:v>
                </c:pt>
                <c:pt idx="3">
                  <c:v>0.4540463255158888</c:v>
                </c:pt>
                <c:pt idx="4">
                  <c:v>0.4549185764847119</c:v>
                </c:pt>
                <c:pt idx="5">
                  <c:v>0.4381614951321498</c:v>
                </c:pt>
                <c:pt idx="6">
                  <c:v>0.43483790404805434</c:v>
                </c:pt>
                <c:pt idx="7">
                  <c:v>0.43391696739805363</c:v>
                </c:pt>
                <c:pt idx="8">
                  <c:v>0.42817934132429786</c:v>
                </c:pt>
                <c:pt idx="9">
                  <c:v>0.419649209257919</c:v>
                </c:pt>
                <c:pt idx="10">
                  <c:v>0.4382754163038874</c:v>
                </c:pt>
                <c:pt idx="11">
                  <c:v>0.4350463426444189</c:v>
                </c:pt>
                <c:pt idx="12">
                  <c:v>0.42772963390755964</c:v>
                </c:pt>
                <c:pt idx="13">
                  <c:v>0.4366930097951915</c:v>
                </c:pt>
                <c:pt idx="14">
                  <c:v>0.42778988326848244</c:v>
                </c:pt>
                <c:pt idx="15">
                  <c:v>0.43177023450340685</c:v>
                </c:pt>
                <c:pt idx="16">
                  <c:v>0.4269684499739032</c:v>
                </c:pt>
                <c:pt idx="17">
                  <c:v>0.4362331663461732</c:v>
                </c:pt>
                <c:pt idx="18">
                  <c:v>0.4255790296368892</c:v>
                </c:pt>
                <c:pt idx="19">
                  <c:v>0.45891168694873274</c:v>
                </c:pt>
                <c:pt idx="20">
                  <c:v>0.4675970369765178</c:v>
                </c:pt>
                <c:pt idx="21">
                  <c:v>0.4649638228240744</c:v>
                </c:pt>
                <c:pt idx="22">
                  <c:v>0.43454503650966064</c:v>
                </c:pt>
                <c:pt idx="23">
                  <c:v>0.427193594230106</c:v>
                </c:pt>
                <c:pt idx="24">
                  <c:v>0.4324606625792964</c:v>
                </c:pt>
                <c:pt idx="25">
                  <c:v>0.4250915248173359</c:v>
                </c:pt>
                <c:pt idx="26">
                  <c:v>0.422950845164601</c:v>
                </c:pt>
                <c:pt idx="27">
                  <c:v>0.4241765725606736</c:v>
                </c:pt>
                <c:pt idx="28">
                  <c:v>0.43209059455394866</c:v>
                </c:pt>
                <c:pt idx="29">
                  <c:v>0.42438136147165934</c:v>
                </c:pt>
                <c:pt idx="30">
                  <c:v>0.4315169274697674</c:v>
                </c:pt>
                <c:pt idx="31">
                  <c:v>0.4392504806486024</c:v>
                </c:pt>
                <c:pt idx="32">
                  <c:v>0.43314459211624323</c:v>
                </c:pt>
                <c:pt idx="33">
                  <c:v>0.43114590773798</c:v>
                </c:pt>
                <c:pt idx="34">
                  <c:v>0.4236447301283089</c:v>
                </c:pt>
                <c:pt idx="35">
                  <c:v>0.48908643159601545</c:v>
                </c:pt>
                <c:pt idx="36">
                  <c:v>0.49580203508279996</c:v>
                </c:pt>
                <c:pt idx="37">
                  <c:v>0.49666131015970766</c:v>
                </c:pt>
                <c:pt idx="38">
                  <c:v>0.4911384438330546</c:v>
                </c:pt>
                <c:pt idx="39">
                  <c:v>0.4628819824040814</c:v>
                </c:pt>
                <c:pt idx="40">
                  <c:v>0.43910203992629665</c:v>
                </c:pt>
                <c:pt idx="41">
                  <c:v>0.44959685867937266</c:v>
                </c:pt>
                <c:pt idx="42">
                  <c:v>0.43292166433455165</c:v>
                </c:pt>
                <c:pt idx="43">
                  <c:v>0.4343239764023821</c:v>
                </c:pt>
                <c:pt idx="44">
                  <c:v>0.4385701430286948</c:v>
                </c:pt>
                <c:pt idx="45">
                  <c:v>0.4715255667521236</c:v>
                </c:pt>
                <c:pt idx="46">
                  <c:v>0.47847563094005513</c:v>
                </c:pt>
                <c:pt idx="47">
                  <c:v>0.47390472533274813</c:v>
                </c:pt>
                <c:pt idx="48">
                  <c:v>0.4735962182472318</c:v>
                </c:pt>
                <c:pt idx="49">
                  <c:v>0.4724538677642197</c:v>
                </c:pt>
                <c:pt idx="50">
                  <c:v>0.48513994963041834</c:v>
                </c:pt>
                <c:pt idx="51">
                  <c:v>0.4877018709451821</c:v>
                </c:pt>
                <c:pt idx="52">
                  <c:v>0.518332135154565</c:v>
                </c:pt>
                <c:pt idx="53">
                  <c:v>0.46155928114077144</c:v>
                </c:pt>
                <c:pt idx="54">
                  <c:v>0.4658137017021717</c:v>
                </c:pt>
                <c:pt idx="55">
                  <c:v>0.4772881598227368</c:v>
                </c:pt>
                <c:pt idx="56">
                  <c:v>0.4805996705824532</c:v>
                </c:pt>
                <c:pt idx="57">
                  <c:v>0.46563074725332615</c:v>
                </c:pt>
                <c:pt idx="58">
                  <c:v>0.462567708421022</c:v>
                </c:pt>
                <c:pt idx="59">
                  <c:v>0.4605192833282721</c:v>
                </c:pt>
                <c:pt idx="60">
                  <c:v>0.44809008564692293</c:v>
                </c:pt>
                <c:pt idx="61">
                  <c:v>0.4486277871793841</c:v>
                </c:pt>
                <c:pt idx="62">
                  <c:v>0.44287837455380097</c:v>
                </c:pt>
                <c:pt idx="63">
                  <c:v>0.45355604126752835</c:v>
                </c:pt>
                <c:pt idx="64">
                  <c:v>0.4506319322541041</c:v>
                </c:pt>
                <c:pt idx="65">
                  <c:v>0.45173974840492553</c:v>
                </c:pt>
                <c:pt idx="66">
                  <c:v>0.4557942804678794</c:v>
                </c:pt>
                <c:pt idx="67">
                  <c:v>0.467218775720242</c:v>
                </c:pt>
                <c:pt idx="68">
                  <c:v>0.4661202664146341</c:v>
                </c:pt>
                <c:pt idx="69">
                  <c:v>0.47244078011216206</c:v>
                </c:pt>
                <c:pt idx="70">
                  <c:v>0.4701167664670659</c:v>
                </c:pt>
                <c:pt idx="71">
                  <c:v>0.4868076767722647</c:v>
                </c:pt>
                <c:pt idx="72">
                  <c:v>0.4955618968885967</c:v>
                </c:pt>
                <c:pt idx="73">
                  <c:v>0.4950129747113189</c:v>
                </c:pt>
                <c:pt idx="74">
                  <c:v>0.46741863717166177</c:v>
                </c:pt>
                <c:pt idx="75">
                  <c:v>0.3980656041899166</c:v>
                </c:pt>
                <c:pt idx="76">
                  <c:v>0.4131988742267735</c:v>
                </c:pt>
                <c:pt idx="77">
                  <c:v>0.45578271056489994</c:v>
                </c:pt>
              </c:numCache>
            </c:numRef>
          </c:xVal>
          <c:yVal>
            <c:numRef>
              <c:f>Sheet1!$B$2:$B$79</c:f>
              <c:numCache>
                <c:formatCode>General</c:formatCode>
                <c:ptCount val="78"/>
                <c:pt idx="0">
                  <c:v>0.12430130423210008</c:v>
                </c:pt>
                <c:pt idx="1">
                  <c:v>0.141287763198047</c:v>
                </c:pt>
                <c:pt idx="2">
                  <c:v>0.1326872903466269</c:v>
                </c:pt>
                <c:pt idx="3">
                  <c:v>0.11992551210428305</c:v>
                </c:pt>
                <c:pt idx="4">
                  <c:v>0.14692982456140352</c:v>
                </c:pt>
                <c:pt idx="5">
                  <c:v>0.16471477143936533</c:v>
                </c:pt>
                <c:pt idx="6">
                  <c:v>0.17854647099930118</c:v>
                </c:pt>
                <c:pt idx="7">
                  <c:v>0.1732134406057738</c:v>
                </c:pt>
                <c:pt idx="8">
                  <c:v>0.18403115871470302</c:v>
                </c:pt>
                <c:pt idx="9">
                  <c:v>0.21087533156498675</c:v>
                </c:pt>
                <c:pt idx="10">
                  <c:v>0.22795797167656465</c:v>
                </c:pt>
                <c:pt idx="11">
                  <c:v>0.18718989625620208</c:v>
                </c:pt>
                <c:pt idx="12">
                  <c:v>0.16666666666666666</c:v>
                </c:pt>
                <c:pt idx="13">
                  <c:v>0.24265323257766583</c:v>
                </c:pt>
                <c:pt idx="14">
                  <c:v>0.2570860268523123</c:v>
                </c:pt>
                <c:pt idx="15">
                  <c:v>0.21156373193166886</c:v>
                </c:pt>
                <c:pt idx="16">
                  <c:v>0.2414512093411176</c:v>
                </c:pt>
                <c:pt idx="17">
                  <c:v>0.25265188042430087</c:v>
                </c:pt>
                <c:pt idx="18">
                  <c:v>0.2701543739279588</c:v>
                </c:pt>
                <c:pt idx="19">
                  <c:v>0.18917710196779963</c:v>
                </c:pt>
                <c:pt idx="20">
                  <c:v>0.20337682271680738</c:v>
                </c:pt>
                <c:pt idx="21">
                  <c:v>0.16695652173913045</c:v>
                </c:pt>
                <c:pt idx="22">
                  <c:v>0.20823798627002288</c:v>
                </c:pt>
                <c:pt idx="23">
                  <c:v>0.2446351931330472</c:v>
                </c:pt>
                <c:pt idx="24">
                  <c:v>0.2502951593860685</c:v>
                </c:pt>
                <c:pt idx="25">
                  <c:v>0.29776496034607064</c:v>
                </c:pt>
                <c:pt idx="26">
                  <c:v>0.1931097008159565</c:v>
                </c:pt>
                <c:pt idx="27">
                  <c:v>0.2153061224489796</c:v>
                </c:pt>
                <c:pt idx="28">
                  <c:v>0.1941941941941942</c:v>
                </c:pt>
                <c:pt idx="29">
                  <c:v>0.20551257253384914</c:v>
                </c:pt>
                <c:pt idx="30">
                  <c:v>0.21864520456069753</c:v>
                </c:pt>
                <c:pt idx="31">
                  <c:v>0.20617760617760617</c:v>
                </c:pt>
                <c:pt idx="32">
                  <c:v>0.18927973199329984</c:v>
                </c:pt>
                <c:pt idx="33">
                  <c:v>0.20287769784172663</c:v>
                </c:pt>
                <c:pt idx="34">
                  <c:v>0.20709219858156028</c:v>
                </c:pt>
                <c:pt idx="35">
                  <c:v>0.21441124780316345</c:v>
                </c:pt>
                <c:pt idx="36">
                  <c:v>0.1414618777567738</c:v>
                </c:pt>
                <c:pt idx="37">
                  <c:v>0.17801047120418848</c:v>
                </c:pt>
                <c:pt idx="38">
                  <c:v>0.21660926138538078</c:v>
                </c:pt>
                <c:pt idx="39">
                  <c:v>0.15796019900497513</c:v>
                </c:pt>
                <c:pt idx="40">
                  <c:v>0.21609657947686117</c:v>
                </c:pt>
                <c:pt idx="41">
                  <c:v>0.20811287477954143</c:v>
                </c:pt>
                <c:pt idx="42">
                  <c:v>0.2904874213836478</c:v>
                </c:pt>
                <c:pt idx="43">
                  <c:v>0.2716711349419124</c:v>
                </c:pt>
                <c:pt idx="44">
                  <c:v>0.24008810572687225</c:v>
                </c:pt>
                <c:pt idx="45">
                  <c:v>0.1728613569321534</c:v>
                </c:pt>
                <c:pt idx="46">
                  <c:v>0.12275862068965518</c:v>
                </c:pt>
                <c:pt idx="47">
                  <c:v>0.1686140209508461</c:v>
                </c:pt>
                <c:pt idx="48">
                  <c:v>0.12125961812482189</c:v>
                </c:pt>
                <c:pt idx="49">
                  <c:v>0.12089902002556455</c:v>
                </c:pt>
                <c:pt idx="50">
                  <c:v>0.11026482306069839</c:v>
                </c:pt>
                <c:pt idx="51">
                  <c:v>0.12351084410956115</c:v>
                </c:pt>
                <c:pt idx="52">
                  <c:v>0.13238084607657105</c:v>
                </c:pt>
                <c:pt idx="53">
                  <c:v>0.15469839967172752</c:v>
                </c:pt>
                <c:pt idx="54">
                  <c:v>0.15002180549498473</c:v>
                </c:pt>
                <c:pt idx="55">
                  <c:v>0.18773764258555134</c:v>
                </c:pt>
                <c:pt idx="56">
                  <c:v>0.17928496319663512</c:v>
                </c:pt>
                <c:pt idx="57">
                  <c:v>0.2381201044386423</c:v>
                </c:pt>
                <c:pt idx="58">
                  <c:v>0.23405349794238683</c:v>
                </c:pt>
                <c:pt idx="59">
                  <c:v>0.24217252396166133</c:v>
                </c:pt>
                <c:pt idx="60">
                  <c:v>0.21081622433650477</c:v>
                </c:pt>
                <c:pt idx="61">
                  <c:v>0.19382022471910113</c:v>
                </c:pt>
                <c:pt idx="62">
                  <c:v>0.22181243414120128</c:v>
                </c:pt>
                <c:pt idx="63">
                  <c:v>0.20601733809280978</c:v>
                </c:pt>
                <c:pt idx="64">
                  <c:v>0.1728748806112703</c:v>
                </c:pt>
                <c:pt idx="65">
                  <c:v>0.25839616175462643</c:v>
                </c:pt>
                <c:pt idx="66">
                  <c:v>0.3066759388038943</c:v>
                </c:pt>
                <c:pt idx="67">
                  <c:v>0.26155646576945585</c:v>
                </c:pt>
                <c:pt idx="68">
                  <c:v>0.22188603126575895</c:v>
                </c:pt>
                <c:pt idx="69">
                  <c:v>0.23253333333333334</c:v>
                </c:pt>
                <c:pt idx="70">
                  <c:v>0.22756640344580042</c:v>
                </c:pt>
                <c:pt idx="71">
                  <c:v>0.16659991990388467</c:v>
                </c:pt>
                <c:pt idx="72">
                  <c:v>0.15674477517416086</c:v>
                </c:pt>
                <c:pt idx="73">
                  <c:v>0.1700827040632866</c:v>
                </c:pt>
                <c:pt idx="74">
                  <c:v>0.2291494632535095</c:v>
                </c:pt>
                <c:pt idx="75">
                  <c:v>0.3768176152887412</c:v>
                </c:pt>
                <c:pt idx="76">
                  <c:v>0.339859437751004</c:v>
                </c:pt>
                <c:pt idx="77">
                  <c:v>0.2891748675246026</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2124148268241013</c:v>
                </c:pt>
                <c:pt idx="1">
                  <c:v>0.4165160834633156</c:v>
                </c:pt>
                <c:pt idx="2">
                  <c:v>0.4107001870858891</c:v>
                </c:pt>
                <c:pt idx="3">
                  <c:v>0.42181853133410224</c:v>
                </c:pt>
                <c:pt idx="4">
                  <c:v>0.43658611333278524</c:v>
                </c:pt>
                <c:pt idx="5">
                  <c:v>0.4181770548026771</c:v>
                </c:pt>
                <c:pt idx="6">
                  <c:v>0.400929652870674</c:v>
                </c:pt>
                <c:pt idx="7">
                  <c:v>0.42277130809783414</c:v>
                </c:pt>
                <c:pt idx="8">
                  <c:v>0.41771991854620744</c:v>
                </c:pt>
                <c:pt idx="9">
                  <c:v>0.46049494156834814</c:v>
                </c:pt>
                <c:pt idx="10">
                  <c:v>0.5109301676686198</c:v>
                </c:pt>
                <c:pt idx="11">
                  <c:v>0.5174177642921178</c:v>
                </c:pt>
                <c:pt idx="12">
                  <c:v>0.5145318786260894</c:v>
                </c:pt>
                <c:pt idx="13">
                  <c:v>0.5129188039793713</c:v>
                </c:pt>
                <c:pt idx="14">
                  <c:v>0.4260796813614781</c:v>
                </c:pt>
                <c:pt idx="15">
                  <c:v>0.4120573481571832</c:v>
                </c:pt>
                <c:pt idx="16">
                  <c:v>0.4102742108618375</c:v>
                </c:pt>
                <c:pt idx="17">
                  <c:v>0.39782815634931096</c:v>
                </c:pt>
                <c:pt idx="18">
                  <c:v>0.43310022195867326</c:v>
                </c:pt>
                <c:pt idx="19">
                  <c:v>0.44745774375038333</c:v>
                </c:pt>
                <c:pt idx="20">
                  <c:v>0.505983750086373</c:v>
                </c:pt>
                <c:pt idx="21">
                  <c:v>0.5465640236079036</c:v>
                </c:pt>
                <c:pt idx="22">
                  <c:v>0.517478787298537</c:v>
                </c:pt>
                <c:pt idx="23">
                  <c:v>0.5253239736152775</c:v>
                </c:pt>
                <c:pt idx="24">
                  <c:v>0.5275025588004552</c:v>
                </c:pt>
                <c:pt idx="25">
                  <c:v>0.5263010086134562</c:v>
                </c:pt>
                <c:pt idx="26">
                  <c:v>0.5268299083427281</c:v>
                </c:pt>
                <c:pt idx="27">
                  <c:v>0.4785909141082044</c:v>
                </c:pt>
                <c:pt idx="28">
                  <c:v>0.46032483435793115</c:v>
                </c:pt>
                <c:pt idx="29">
                  <c:v>0.4508960016031273</c:v>
                </c:pt>
                <c:pt idx="30">
                  <c:v>0.4460126617301972</c:v>
                </c:pt>
                <c:pt idx="31">
                  <c:v>0.4522617551011299</c:v>
                </c:pt>
                <c:pt idx="32">
                  <c:v>0.4538941946372143</c:v>
                </c:pt>
                <c:pt idx="33">
                  <c:v>0.4486501390478337</c:v>
                </c:pt>
                <c:pt idx="34">
                  <c:v>0.44120344109028603</c:v>
                </c:pt>
                <c:pt idx="35">
                  <c:v>0.45529981674910214</c:v>
                </c:pt>
                <c:pt idx="36">
                  <c:v>0.44847058823529407</c:v>
                </c:pt>
                <c:pt idx="37">
                  <c:v>0.4556512386941617</c:v>
                </c:pt>
                <c:pt idx="38">
                  <c:v>0.44600230681878983</c:v>
                </c:pt>
                <c:pt idx="39">
                  <c:v>0.44254674137249167</c:v>
                </c:pt>
                <c:pt idx="40">
                  <c:v>0.4478929640048018</c:v>
                </c:pt>
                <c:pt idx="41">
                  <c:v>0.4580155875928877</c:v>
                </c:pt>
                <c:pt idx="42">
                  <c:v>0.4314840992594423</c:v>
                </c:pt>
                <c:pt idx="43">
                  <c:v>0.4232937760346307</c:v>
                </c:pt>
                <c:pt idx="44">
                  <c:v>0.4169685400574151</c:v>
                </c:pt>
                <c:pt idx="45">
                  <c:v>0.414907006430216</c:v>
                </c:pt>
                <c:pt idx="46">
                  <c:v>0.48745937125787897</c:v>
                </c:pt>
                <c:pt idx="47">
                  <c:v>0.49473597277967724</c:v>
                </c:pt>
                <c:pt idx="48">
                  <c:v>0.5083055927640218</c:v>
                </c:pt>
                <c:pt idx="49">
                  <c:v>0.4689500287805538</c:v>
                </c:pt>
                <c:pt idx="50">
                  <c:v>0.4539269714507274</c:v>
                </c:pt>
                <c:pt idx="51">
                  <c:v>0.4414525802098012</c:v>
                </c:pt>
              </c:numCache>
            </c:numRef>
          </c:xVal>
          <c:yVal>
            <c:numRef>
              <c:f>Sheet1!$B$82:$B$133</c:f>
              <c:numCache>
                <c:formatCode>General</c:formatCode>
                <c:ptCount val="52"/>
                <c:pt idx="0">
                  <c:v>0.2514177693761815</c:v>
                </c:pt>
                <c:pt idx="1">
                  <c:v>0.25720930232558137</c:v>
                </c:pt>
                <c:pt idx="2">
                  <c:v>0.28387429160226685</c:v>
                </c:pt>
                <c:pt idx="3">
                  <c:v>0.2906774753908512</c:v>
                </c:pt>
                <c:pt idx="4">
                  <c:v>0.23383409536250815</c:v>
                </c:pt>
                <c:pt idx="5">
                  <c:v>0.2742448330683625</c:v>
                </c:pt>
                <c:pt idx="6">
                  <c:v>0.2329136690647482</c:v>
                </c:pt>
                <c:pt idx="7">
                  <c:v>0.2687188019966722</c:v>
                </c:pt>
                <c:pt idx="8">
                  <c:v>0.29132362254591515</c:v>
                </c:pt>
                <c:pt idx="9">
                  <c:v>0.16770186335403728</c:v>
                </c:pt>
                <c:pt idx="10">
                  <c:v>0.17326948193295602</c:v>
                </c:pt>
                <c:pt idx="11">
                  <c:v>0.2295701464336325</c:v>
                </c:pt>
                <c:pt idx="12">
                  <c:v>0.18302910705476072</c:v>
                </c:pt>
                <c:pt idx="13">
                  <c:v>0.16984807167900273</c:v>
                </c:pt>
                <c:pt idx="14">
                  <c:v>0.18836363636363637</c:v>
                </c:pt>
                <c:pt idx="15">
                  <c:v>0.22638368705784437</c:v>
                </c:pt>
                <c:pt idx="16">
                  <c:v>0.30324909747292417</c:v>
                </c:pt>
                <c:pt idx="17">
                  <c:v>0.2896606156274665</c:v>
                </c:pt>
                <c:pt idx="18">
                  <c:v>0.2775382203057625</c:v>
                </c:pt>
                <c:pt idx="19">
                  <c:v>0.3068731848983543</c:v>
                </c:pt>
                <c:pt idx="20">
                  <c:v>0.18363064008394545</c:v>
                </c:pt>
                <c:pt idx="21">
                  <c:v>0.22083948534064543</c:v>
                </c:pt>
                <c:pt idx="22">
                  <c:v>0.15277246653919693</c:v>
                </c:pt>
                <c:pt idx="23">
                  <c:v>0.12461143397756454</c:v>
                </c:pt>
                <c:pt idx="24">
                  <c:v>0.12039517749497655</c:v>
                </c:pt>
                <c:pt idx="25">
                  <c:v>0.11894747138804657</c:v>
                </c:pt>
                <c:pt idx="26">
                  <c:v>0.16923076923076924</c:v>
                </c:pt>
                <c:pt idx="27">
                  <c:v>0.23454545454545456</c:v>
                </c:pt>
                <c:pt idx="28">
                  <c:v>0.2808988764044944</c:v>
                </c:pt>
                <c:pt idx="29">
                  <c:v>0.30301129234629864</c:v>
                </c:pt>
                <c:pt idx="30">
                  <c:v>0.28151774785801714</c:v>
                </c:pt>
                <c:pt idx="31">
                  <c:v>0.2486050836949783</c:v>
                </c:pt>
                <c:pt idx="32">
                  <c:v>0.16827528325639948</c:v>
                </c:pt>
                <c:pt idx="33">
                  <c:v>0.2655786350148368</c:v>
                </c:pt>
                <c:pt idx="34">
                  <c:v>0.25676567656765675</c:v>
                </c:pt>
                <c:pt idx="35">
                  <c:v>0.19109947643979058</c:v>
                </c:pt>
                <c:pt idx="36">
                  <c:v>0.18865979381443299</c:v>
                </c:pt>
                <c:pt idx="37">
                  <c:v>0.20165033522434245</c:v>
                </c:pt>
                <c:pt idx="38">
                  <c:v>0.21023765996343693</c:v>
                </c:pt>
                <c:pt idx="39">
                  <c:v>0.26147704590818366</c:v>
                </c:pt>
                <c:pt idx="40">
                  <c:v>0.26407657657657657</c:v>
                </c:pt>
                <c:pt idx="41">
                  <c:v>0.22476272648835202</c:v>
                </c:pt>
                <c:pt idx="42">
                  <c:v>0.3231046931407942</c:v>
                </c:pt>
                <c:pt idx="43">
                  <c:v>0.339654210819855</c:v>
                </c:pt>
                <c:pt idx="44">
                  <c:v>0.33487565066512437</c:v>
                </c:pt>
                <c:pt idx="45">
                  <c:v>0.3230109575988566</c:v>
                </c:pt>
                <c:pt idx="46">
                  <c:v>0.25586001980851764</c:v>
                </c:pt>
                <c:pt idx="47">
                  <c:v>0.20208900999091733</c:v>
                </c:pt>
                <c:pt idx="48">
                  <c:v>0.18310369833212473</c:v>
                </c:pt>
                <c:pt idx="49">
                  <c:v>0.28109656301145663</c:v>
                </c:pt>
                <c:pt idx="50">
                  <c:v>0.26585623678646936</c:v>
                </c:pt>
                <c:pt idx="51">
                  <c:v>0.24698504582730343</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4253855003183753</c:v>
                </c:pt>
              </c:numCache>
            </c:numRef>
          </c:xVal>
          <c:yVal>
            <c:numRef>
              <c:f>Sheet1!$B$136:$B$137</c:f>
              <c:numCache>
                <c:formatCode>General</c:formatCode>
                <c:ptCount val="2"/>
                <c:pt idx="0">
                  <c:v>0.2696886488426563</c:v>
                </c:pt>
                <c:pt idx="1">
                  <c:v>0.2696886488426563</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4253855003183753</c:v>
                </c:pt>
                <c:pt idx="1">
                  <c:v>0.4253855003183753</c:v>
                </c:pt>
              </c:numCache>
            </c:numRef>
          </c:xVal>
          <c:yVal>
            <c:numRef>
              <c:f>Sheet1!$B$140:$B$141</c:f>
              <c:numCache>
                <c:formatCode>General</c:formatCode>
                <c:ptCount val="2"/>
                <c:pt idx="0">
                  <c:v>0.269688648842656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4253855003183753</c:v>
                </c:pt>
              </c:numCache>
            </c:numRef>
          </c:xVal>
          <c:yVal>
            <c:numRef>
              <c:f>Sheet1!$B$144:$B$145</c:f>
              <c:numCache>
                <c:formatCode>General</c:formatCode>
                <c:ptCount val="2"/>
                <c:pt idx="0">
                  <c:v>0.2696886488426563</c:v>
                </c:pt>
                <c:pt idx="1">
                  <c:v>0.2696886488426563</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253855003183753</c:v>
                </c:pt>
                <c:pt idx="1">
                  <c:v>0.4253855003183753</c:v>
                </c:pt>
              </c:numCache>
            </c:numRef>
          </c:xVal>
          <c:yVal>
            <c:numRef>
              <c:f>Sheet1!$B$148:$B$149</c:f>
              <c:numCache>
                <c:formatCode>General</c:formatCode>
                <c:ptCount val="2"/>
                <c:pt idx="0">
                  <c:v>0.26968864884265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42538550031837535</c:v>
                </c:pt>
              </c:numCache>
            </c:numRef>
          </c:xVal>
          <c:yVal>
            <c:numRef>
              <c:f>Sheet1!$B$152:$B$153</c:f>
              <c:numCache>
                <c:formatCode>General</c:formatCode>
                <c:ptCount val="2"/>
                <c:pt idx="0">
                  <c:v>0.26968864884265625</c:v>
                </c:pt>
                <c:pt idx="1">
                  <c:v>0.26968864884265625</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2538550031837535</c:v>
                </c:pt>
                <c:pt idx="1">
                  <c:v>0.42538550031837535</c:v>
                </c:pt>
              </c:numCache>
            </c:numRef>
          </c:xVal>
          <c:yVal>
            <c:numRef>
              <c:f>Sheet1!$B$156:$B$157</c:f>
              <c:numCache>
                <c:formatCode>General</c:formatCode>
                <c:ptCount val="2"/>
                <c:pt idx="0">
                  <c:v>0.26968864884265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2124148268241013</c:v>
                </c:pt>
                <c:pt idx="1">
                  <c:v>0.4165160834633156</c:v>
                </c:pt>
                <c:pt idx="2">
                  <c:v>0.4107001870858891</c:v>
                </c:pt>
                <c:pt idx="3">
                  <c:v>0.42181853133410224</c:v>
                </c:pt>
                <c:pt idx="4">
                  <c:v>0.43658611333278524</c:v>
                </c:pt>
                <c:pt idx="5">
                  <c:v>0.4181770548026771</c:v>
                </c:pt>
                <c:pt idx="6">
                  <c:v>0.400929652870674</c:v>
                </c:pt>
                <c:pt idx="7">
                  <c:v>0.42277130809783414</c:v>
                </c:pt>
                <c:pt idx="8">
                  <c:v>0.41771991854620744</c:v>
                </c:pt>
                <c:pt idx="9">
                  <c:v>0.46049494156834814</c:v>
                </c:pt>
                <c:pt idx="10">
                  <c:v>0.5109301676686198</c:v>
                </c:pt>
                <c:pt idx="11">
                  <c:v>0.5174177642921178</c:v>
                </c:pt>
                <c:pt idx="12">
                  <c:v>0.5145318786260894</c:v>
                </c:pt>
                <c:pt idx="13">
                  <c:v>0.5129188039793713</c:v>
                </c:pt>
                <c:pt idx="14">
                  <c:v>0.4260796813614781</c:v>
                </c:pt>
                <c:pt idx="15">
                  <c:v>0.4120573481571832</c:v>
                </c:pt>
                <c:pt idx="16">
                  <c:v>0.4102742108618375</c:v>
                </c:pt>
                <c:pt idx="17">
                  <c:v>0.39782815634931096</c:v>
                </c:pt>
                <c:pt idx="18">
                  <c:v>0.43310022195867326</c:v>
                </c:pt>
                <c:pt idx="19">
                  <c:v>0.44745774375038333</c:v>
                </c:pt>
                <c:pt idx="20">
                  <c:v>0.505983750086373</c:v>
                </c:pt>
                <c:pt idx="21">
                  <c:v>0.5465640236079036</c:v>
                </c:pt>
                <c:pt idx="22">
                  <c:v>0.517478787298537</c:v>
                </c:pt>
                <c:pt idx="23">
                  <c:v>0.5253239736152775</c:v>
                </c:pt>
                <c:pt idx="24">
                  <c:v>0.5275025588004552</c:v>
                </c:pt>
                <c:pt idx="25">
                  <c:v>0.5263010086134562</c:v>
                </c:pt>
                <c:pt idx="26">
                  <c:v>0.5268299083427281</c:v>
                </c:pt>
                <c:pt idx="27">
                  <c:v>0.4785909141082044</c:v>
                </c:pt>
                <c:pt idx="28">
                  <c:v>0.46032483435793115</c:v>
                </c:pt>
                <c:pt idx="29">
                  <c:v>0.4508960016031273</c:v>
                </c:pt>
                <c:pt idx="30">
                  <c:v>0.4460126617301972</c:v>
                </c:pt>
                <c:pt idx="31">
                  <c:v>0.4522617551011299</c:v>
                </c:pt>
                <c:pt idx="32">
                  <c:v>0.4538941946372143</c:v>
                </c:pt>
                <c:pt idx="33">
                  <c:v>0.4486501390478337</c:v>
                </c:pt>
                <c:pt idx="34">
                  <c:v>0.44120344109028603</c:v>
                </c:pt>
                <c:pt idx="35">
                  <c:v>0.45529981674910214</c:v>
                </c:pt>
                <c:pt idx="36">
                  <c:v>0.44847058823529407</c:v>
                </c:pt>
                <c:pt idx="37">
                  <c:v>0.4556512386941617</c:v>
                </c:pt>
                <c:pt idx="38">
                  <c:v>0.44600230681878983</c:v>
                </c:pt>
                <c:pt idx="39">
                  <c:v>0.44254674137249167</c:v>
                </c:pt>
                <c:pt idx="40">
                  <c:v>0.4478929640048018</c:v>
                </c:pt>
                <c:pt idx="41">
                  <c:v>0.4580155875928877</c:v>
                </c:pt>
                <c:pt idx="42">
                  <c:v>0.4314840992594423</c:v>
                </c:pt>
                <c:pt idx="43">
                  <c:v>0.4232937760346307</c:v>
                </c:pt>
                <c:pt idx="44">
                  <c:v>0.4169685400574151</c:v>
                </c:pt>
                <c:pt idx="45">
                  <c:v>0.414907006430216</c:v>
                </c:pt>
                <c:pt idx="46">
                  <c:v>0.48745937125787897</c:v>
                </c:pt>
                <c:pt idx="47">
                  <c:v>0.49473597277967724</c:v>
                </c:pt>
                <c:pt idx="48">
                  <c:v>0.5083055927640218</c:v>
                </c:pt>
                <c:pt idx="49">
                  <c:v>0.4689500287805538</c:v>
                </c:pt>
                <c:pt idx="50">
                  <c:v>0.4539269714507274</c:v>
                </c:pt>
                <c:pt idx="51">
                  <c:v>0.4414525802098012</c:v>
                </c:pt>
                <c:pt idx="52">
                  <c:v>0.4253855003183753</c:v>
                </c:pt>
                <c:pt idx="53">
                  <c:v>0.4253855003183753</c:v>
                </c:pt>
                <c:pt idx="54">
                  <c:v>0.42538550031837535</c:v>
                </c:pt>
              </c:numCache>
            </c:numRef>
          </c:xVal>
          <c:yVal>
            <c:numRef>
              <c:f>Sheet1!$B$160:$B$214</c:f>
              <c:numCache>
                <c:formatCode>General</c:formatCode>
                <c:ptCount val="55"/>
                <c:pt idx="0">
                  <c:v>0.2738429420309698</c:v>
                </c:pt>
                <c:pt idx="1">
                  <c:v>0.27858005840267036</c:v>
                </c:pt>
                <c:pt idx="2">
                  <c:v>0.28441037594161894</c:v>
                </c:pt>
                <c:pt idx="3">
                  <c:v>0.2732644625230051</c:v>
                </c:pt>
                <c:pt idx="4">
                  <c:v>0.25846026266329547</c:v>
                </c:pt>
                <c:pt idx="5">
                  <c:v>0.276914968500251</c:v>
                </c:pt>
                <c:pt idx="6">
                  <c:v>0.29420513728244474</c:v>
                </c:pt>
                <c:pt idx="7">
                  <c:v>0.2723093232433836</c:v>
                </c:pt>
                <c:pt idx="8">
                  <c:v>0.2773732382768806</c:v>
                </c:pt>
                <c:pt idx="9">
                  <c:v>0.23449214983058475</c:v>
                </c:pt>
                <c:pt idx="10">
                  <c:v>0.18393186398117123</c:v>
                </c:pt>
                <c:pt idx="11">
                  <c:v>0.1774281806407294</c:v>
                </c:pt>
                <c:pt idx="12">
                  <c:v>0.18032122218104163</c:v>
                </c:pt>
                <c:pt idx="13">
                  <c:v>0.1819382966256443</c:v>
                </c:pt>
                <c:pt idx="14">
                  <c:v>0.2689927465004968</c:v>
                </c:pt>
                <c:pt idx="15">
                  <c:v>0.28304984963859603</c:v>
                </c:pt>
                <c:pt idx="16">
                  <c:v>0.2848374084210666</c:v>
                </c:pt>
                <c:pt idx="17">
                  <c:v>0.29731432430917315</c:v>
                </c:pt>
                <c:pt idx="18">
                  <c:v>0.2619547976925368</c:v>
                </c:pt>
                <c:pt idx="19">
                  <c:v>0.24756167482966274</c:v>
                </c:pt>
                <c:pt idx="20">
                  <c:v>0.18889054675562233</c:v>
                </c:pt>
                <c:pt idx="21">
                  <c:v>0.1482096499352763</c:v>
                </c:pt>
                <c:pt idx="22">
                  <c:v>0.1773670063209829</c:v>
                </c:pt>
                <c:pt idx="23">
                  <c:v>0.16950236699275423</c:v>
                </c:pt>
                <c:pt idx="24">
                  <c:v>0.16731837976345365</c:v>
                </c:pt>
                <c:pt idx="25">
                  <c:v>0.1685229093276972</c:v>
                </c:pt>
                <c:pt idx="26">
                  <c:v>0.16799269813275763</c:v>
                </c:pt>
                <c:pt idx="27">
                  <c:v>0.2163513063153944</c:v>
                </c:pt>
                <c:pt idx="28">
                  <c:v>0.23466267884073788</c:v>
                </c:pt>
                <c:pt idx="29">
                  <c:v>0.24411489143440024</c:v>
                </c:pt>
                <c:pt idx="30">
                  <c:v>0.2490103400913431</c:v>
                </c:pt>
                <c:pt idx="31">
                  <c:v>0.24274575139879173</c:v>
                </c:pt>
                <c:pt idx="32">
                  <c:v>0.24110926404742705</c:v>
                </c:pt>
                <c:pt idx="33">
                  <c:v>0.24636632285553406</c:v>
                </c:pt>
                <c:pt idx="34">
                  <c:v>0.2538314857283902</c:v>
                </c:pt>
                <c:pt idx="35">
                  <c:v>0.23970015653927373</c:v>
                </c:pt>
                <c:pt idx="36">
                  <c:v>0.24654631888427098</c:v>
                </c:pt>
                <c:pt idx="37">
                  <c:v>0.2393478632044398</c:v>
                </c:pt>
                <c:pt idx="38">
                  <c:v>0.2490207206789043</c:v>
                </c:pt>
                <c:pt idx="39">
                  <c:v>0.25248485458382297</c:v>
                </c:pt>
                <c:pt idx="40">
                  <c:v>0.24712537539824742</c:v>
                </c:pt>
                <c:pt idx="41">
                  <c:v>0.23697765163981493</c:v>
                </c:pt>
                <c:pt idx="42">
                  <c:v>0.2635749277476374</c:v>
                </c:pt>
                <c:pt idx="43">
                  <c:v>0.27178555978926383</c:v>
                </c:pt>
                <c:pt idx="44">
                  <c:v>0.27812647989215383</c:v>
                </c:pt>
                <c:pt idx="45">
                  <c:v>0.2801931253211272</c:v>
                </c:pt>
                <c:pt idx="46">
                  <c:v>0.20746085884046167</c:v>
                </c:pt>
                <c:pt idx="47">
                  <c:v>0.2001662141763741</c:v>
                </c:pt>
                <c:pt idx="48">
                  <c:v>0.18656294681097452</c:v>
                </c:pt>
                <c:pt idx="49">
                  <c:v>0.2260160972898282</c:v>
                </c:pt>
                <c:pt idx="50">
                  <c:v>0.2410764059601616</c:v>
                </c:pt>
                <c:pt idx="51">
                  <c:v>0.2535817288407356</c:v>
                </c:pt>
                <c:pt idx="52">
                  <c:v>0.2696886488426563</c:v>
                </c:pt>
                <c:pt idx="53">
                  <c:v>0.2696886488426563</c:v>
                </c:pt>
                <c:pt idx="54">
                  <c:v>0.26968864884265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utz</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18113834648943"/>
          <c:min val="0.0882118584485587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26.2634</c:v>
                </c:pt>
                <c:pt idx="1">
                  <c:v>26.7948</c:v>
                </c:pt>
                <c:pt idx="2">
                  <c:v>26.7697</c:v>
                </c:pt>
                <c:pt idx="3">
                  <c:v>27.5963</c:v>
                </c:pt>
                <c:pt idx="4">
                  <c:v>27.7761</c:v>
                </c:pt>
                <c:pt idx="5">
                  <c:v>27.8945</c:v>
                </c:pt>
                <c:pt idx="6">
                  <c:v>28.2759</c:v>
                </c:pt>
                <c:pt idx="7">
                  <c:v>28.2322</c:v>
                </c:pt>
                <c:pt idx="8">
                  <c:v>27.7381</c:v>
                </c:pt>
                <c:pt idx="9">
                  <c:v>27.2516</c:v>
                </c:pt>
                <c:pt idx="10">
                  <c:v>28.0381</c:v>
                </c:pt>
                <c:pt idx="11">
                  <c:v>27.9422</c:v>
                </c:pt>
                <c:pt idx="12">
                  <c:v>27.6996</c:v>
                </c:pt>
                <c:pt idx="13">
                  <c:v>28.2474</c:v>
                </c:pt>
                <c:pt idx="14">
                  <c:v>27.4855</c:v>
                </c:pt>
                <c:pt idx="15">
                  <c:v>27.9772</c:v>
                </c:pt>
                <c:pt idx="16">
                  <c:v>27.5682</c:v>
                </c:pt>
                <c:pt idx="17">
                  <c:v>28.1527</c:v>
                </c:pt>
                <c:pt idx="18">
                  <c:v>27.4444</c:v>
                </c:pt>
                <c:pt idx="19">
                  <c:v>27.461</c:v>
                </c:pt>
                <c:pt idx="20">
                  <c:v>27.4717</c:v>
                </c:pt>
                <c:pt idx="21">
                  <c:v>27.2214</c:v>
                </c:pt>
                <c:pt idx="22">
                  <c:v>27.4048</c:v>
                </c:pt>
                <c:pt idx="23">
                  <c:v>27.6252</c:v>
                </c:pt>
                <c:pt idx="24">
                  <c:v>27.6572</c:v>
                </c:pt>
                <c:pt idx="25">
                  <c:v>27.5654</c:v>
                </c:pt>
                <c:pt idx="26">
                  <c:v>27.1987</c:v>
                </c:pt>
                <c:pt idx="27">
                  <c:v>27.4052</c:v>
                </c:pt>
                <c:pt idx="28">
                  <c:v>27.8119</c:v>
                </c:pt>
                <c:pt idx="29">
                  <c:v>27.2682</c:v>
                </c:pt>
                <c:pt idx="30">
                  <c:v>27.6258</c:v>
                </c:pt>
                <c:pt idx="31">
                  <c:v>28.5356</c:v>
                </c:pt>
                <c:pt idx="32">
                  <c:v>27.5619</c:v>
                </c:pt>
                <c:pt idx="33">
                  <c:v>27.8262</c:v>
                </c:pt>
                <c:pt idx="34">
                  <c:v>27.2329</c:v>
                </c:pt>
                <c:pt idx="35">
                  <c:v>27.3279</c:v>
                </c:pt>
                <c:pt idx="36">
                  <c:v>27.5835</c:v>
                </c:pt>
                <c:pt idx="37">
                  <c:v>27.6618</c:v>
                </c:pt>
                <c:pt idx="38">
                  <c:v>27.3127</c:v>
                </c:pt>
                <c:pt idx="39">
                  <c:v>28.4528</c:v>
                </c:pt>
                <c:pt idx="40">
                  <c:v>28.1918</c:v>
                </c:pt>
                <c:pt idx="41">
                  <c:v>28.9682</c:v>
                </c:pt>
                <c:pt idx="42">
                  <c:v>27.7524</c:v>
                </c:pt>
                <c:pt idx="43">
                  <c:v>28.1382</c:v>
                </c:pt>
                <c:pt idx="44">
                  <c:v>28.5596</c:v>
                </c:pt>
                <c:pt idx="45">
                  <c:v>27.8276</c:v>
                </c:pt>
                <c:pt idx="46">
                  <c:v>27.8202</c:v>
                </c:pt>
                <c:pt idx="47">
                  <c:v>27.644</c:v>
                </c:pt>
                <c:pt idx="48">
                  <c:v>27.5911</c:v>
                </c:pt>
                <c:pt idx="49">
                  <c:v>27.6643</c:v>
                </c:pt>
                <c:pt idx="50">
                  <c:v>28.4325</c:v>
                </c:pt>
                <c:pt idx="51">
                  <c:v>28.7312</c:v>
                </c:pt>
                <c:pt idx="52">
                  <c:v>30.9309</c:v>
                </c:pt>
                <c:pt idx="53">
                  <c:v>29.8435</c:v>
                </c:pt>
                <c:pt idx="54">
                  <c:v>30.1599</c:v>
                </c:pt>
                <c:pt idx="55">
                  <c:v>30.7165</c:v>
                </c:pt>
                <c:pt idx="56">
                  <c:v>30.9003</c:v>
                </c:pt>
                <c:pt idx="57">
                  <c:v>30.0526</c:v>
                </c:pt>
                <c:pt idx="58">
                  <c:v>30.222</c:v>
                </c:pt>
                <c:pt idx="59">
                  <c:v>30.3298</c:v>
                </c:pt>
                <c:pt idx="60">
                  <c:v>29.8005</c:v>
                </c:pt>
                <c:pt idx="61">
                  <c:v>30.142</c:v>
                </c:pt>
                <c:pt idx="62">
                  <c:v>29.8884</c:v>
                </c:pt>
                <c:pt idx="63">
                  <c:v>30.255</c:v>
                </c:pt>
                <c:pt idx="64">
                  <c:v>30.0608</c:v>
                </c:pt>
                <c:pt idx="65">
                  <c:v>30.2255</c:v>
                </c:pt>
                <c:pt idx="66">
                  <c:v>30.1837</c:v>
                </c:pt>
                <c:pt idx="67">
                  <c:v>31.0515</c:v>
                </c:pt>
                <c:pt idx="68">
                  <c:v>31.4159</c:v>
                </c:pt>
                <c:pt idx="69">
                  <c:v>31.6078</c:v>
                </c:pt>
                <c:pt idx="70">
                  <c:v>31.4038</c:v>
                </c:pt>
                <c:pt idx="71">
                  <c:v>30.0096</c:v>
                </c:pt>
                <c:pt idx="72">
                  <c:v>29.8525</c:v>
                </c:pt>
                <c:pt idx="73">
                  <c:v>29.8922</c:v>
                </c:pt>
                <c:pt idx="74">
                  <c:v>30.3171</c:v>
                </c:pt>
                <c:pt idx="75">
                  <c:v>27.0728</c:v>
                </c:pt>
                <c:pt idx="76">
                  <c:v>27.8213</c:v>
                </c:pt>
                <c:pt idx="77">
                  <c:v>28.0707</c:v>
                </c:pt>
              </c:numCache>
            </c:numRef>
          </c:xVal>
          <c:yVal>
            <c:numRef>
              <c:f>Sheet1!$B$2:$B$79</c:f>
              <c:numCache>
                <c:formatCode>General</c:formatCode>
                <c:ptCount val="78"/>
                <c:pt idx="0">
                  <c:v>0.12430130423210008</c:v>
                </c:pt>
                <c:pt idx="1">
                  <c:v>0.141287763198047</c:v>
                </c:pt>
                <c:pt idx="2">
                  <c:v>0.1326872903466269</c:v>
                </c:pt>
                <c:pt idx="3">
                  <c:v>0.11992551210428305</c:v>
                </c:pt>
                <c:pt idx="4">
                  <c:v>0.14692982456140352</c:v>
                </c:pt>
                <c:pt idx="5">
                  <c:v>0.16471477143936533</c:v>
                </c:pt>
                <c:pt idx="6">
                  <c:v>0.17854647099930118</c:v>
                </c:pt>
                <c:pt idx="7">
                  <c:v>0.1732134406057738</c:v>
                </c:pt>
                <c:pt idx="8">
                  <c:v>0.18403115871470302</c:v>
                </c:pt>
                <c:pt idx="9">
                  <c:v>0.21087533156498675</c:v>
                </c:pt>
                <c:pt idx="10">
                  <c:v>0.22795797167656465</c:v>
                </c:pt>
                <c:pt idx="11">
                  <c:v>0.18718989625620208</c:v>
                </c:pt>
                <c:pt idx="12">
                  <c:v>0.16666666666666666</c:v>
                </c:pt>
                <c:pt idx="13">
                  <c:v>0.24265323257766583</c:v>
                </c:pt>
                <c:pt idx="14">
                  <c:v>0.2570860268523123</c:v>
                </c:pt>
                <c:pt idx="15">
                  <c:v>0.21156373193166886</c:v>
                </c:pt>
                <c:pt idx="16">
                  <c:v>0.2414512093411176</c:v>
                </c:pt>
                <c:pt idx="17">
                  <c:v>0.25265188042430087</c:v>
                </c:pt>
                <c:pt idx="18">
                  <c:v>0.2701543739279588</c:v>
                </c:pt>
                <c:pt idx="19">
                  <c:v>0.18917710196779963</c:v>
                </c:pt>
                <c:pt idx="20">
                  <c:v>0.20337682271680738</c:v>
                </c:pt>
                <c:pt idx="21">
                  <c:v>0.16695652173913045</c:v>
                </c:pt>
                <c:pt idx="22">
                  <c:v>0.20823798627002288</c:v>
                </c:pt>
                <c:pt idx="23">
                  <c:v>0.2446351931330472</c:v>
                </c:pt>
                <c:pt idx="24">
                  <c:v>0.2502951593860685</c:v>
                </c:pt>
                <c:pt idx="25">
                  <c:v>0.29776496034607064</c:v>
                </c:pt>
                <c:pt idx="26">
                  <c:v>0.1931097008159565</c:v>
                </c:pt>
                <c:pt idx="27">
                  <c:v>0.2153061224489796</c:v>
                </c:pt>
                <c:pt idx="28">
                  <c:v>0.1941941941941942</c:v>
                </c:pt>
                <c:pt idx="29">
                  <c:v>0.20551257253384914</c:v>
                </c:pt>
                <c:pt idx="30">
                  <c:v>0.21864520456069753</c:v>
                </c:pt>
                <c:pt idx="31">
                  <c:v>0.20617760617760617</c:v>
                </c:pt>
                <c:pt idx="32">
                  <c:v>0.18927973199329984</c:v>
                </c:pt>
                <c:pt idx="33">
                  <c:v>0.20287769784172663</c:v>
                </c:pt>
                <c:pt idx="34">
                  <c:v>0.20709219858156028</c:v>
                </c:pt>
                <c:pt idx="35">
                  <c:v>0.21441124780316345</c:v>
                </c:pt>
                <c:pt idx="36">
                  <c:v>0.1414618777567738</c:v>
                </c:pt>
                <c:pt idx="37">
                  <c:v>0.17801047120418848</c:v>
                </c:pt>
                <c:pt idx="38">
                  <c:v>0.21660926138538078</c:v>
                </c:pt>
                <c:pt idx="39">
                  <c:v>0.15796019900497513</c:v>
                </c:pt>
                <c:pt idx="40">
                  <c:v>0.21609657947686117</c:v>
                </c:pt>
                <c:pt idx="41">
                  <c:v>0.20811287477954143</c:v>
                </c:pt>
                <c:pt idx="42">
                  <c:v>0.2904874213836478</c:v>
                </c:pt>
                <c:pt idx="43">
                  <c:v>0.2716711349419124</c:v>
                </c:pt>
                <c:pt idx="44">
                  <c:v>0.24008810572687225</c:v>
                </c:pt>
                <c:pt idx="45">
                  <c:v>0.1728613569321534</c:v>
                </c:pt>
                <c:pt idx="46">
                  <c:v>0.12275862068965518</c:v>
                </c:pt>
                <c:pt idx="47">
                  <c:v>0.1686140209508461</c:v>
                </c:pt>
                <c:pt idx="48">
                  <c:v>0.12125961812482189</c:v>
                </c:pt>
                <c:pt idx="49">
                  <c:v>0.12089902002556455</c:v>
                </c:pt>
                <c:pt idx="50">
                  <c:v>0.11026482306069839</c:v>
                </c:pt>
                <c:pt idx="51">
                  <c:v>0.12351084410956115</c:v>
                </c:pt>
                <c:pt idx="52">
                  <c:v>0.13238084607657105</c:v>
                </c:pt>
                <c:pt idx="53">
                  <c:v>0.15469839967172752</c:v>
                </c:pt>
                <c:pt idx="54">
                  <c:v>0.15002180549498473</c:v>
                </c:pt>
                <c:pt idx="55">
                  <c:v>0.18773764258555134</c:v>
                </c:pt>
                <c:pt idx="56">
                  <c:v>0.17928496319663512</c:v>
                </c:pt>
                <c:pt idx="57">
                  <c:v>0.2381201044386423</c:v>
                </c:pt>
                <c:pt idx="58">
                  <c:v>0.23405349794238683</c:v>
                </c:pt>
                <c:pt idx="59">
                  <c:v>0.24217252396166133</c:v>
                </c:pt>
                <c:pt idx="60">
                  <c:v>0.21081622433650477</c:v>
                </c:pt>
                <c:pt idx="61">
                  <c:v>0.19382022471910113</c:v>
                </c:pt>
                <c:pt idx="62">
                  <c:v>0.22181243414120128</c:v>
                </c:pt>
                <c:pt idx="63">
                  <c:v>0.20601733809280978</c:v>
                </c:pt>
                <c:pt idx="64">
                  <c:v>0.1728748806112703</c:v>
                </c:pt>
                <c:pt idx="65">
                  <c:v>0.25839616175462643</c:v>
                </c:pt>
                <c:pt idx="66">
                  <c:v>0.3066759388038943</c:v>
                </c:pt>
                <c:pt idx="67">
                  <c:v>0.26155646576945585</c:v>
                </c:pt>
                <c:pt idx="68">
                  <c:v>0.22188603126575895</c:v>
                </c:pt>
                <c:pt idx="69">
                  <c:v>0.23253333333333334</c:v>
                </c:pt>
                <c:pt idx="70">
                  <c:v>0.22756640344580042</c:v>
                </c:pt>
                <c:pt idx="71">
                  <c:v>0.16659991990388467</c:v>
                </c:pt>
                <c:pt idx="72">
                  <c:v>0.15674477517416086</c:v>
                </c:pt>
                <c:pt idx="73">
                  <c:v>0.1700827040632866</c:v>
                </c:pt>
                <c:pt idx="74">
                  <c:v>0.2291494632535095</c:v>
                </c:pt>
                <c:pt idx="75">
                  <c:v>0.3768176152887412</c:v>
                </c:pt>
                <c:pt idx="76">
                  <c:v>0.339859437751004</c:v>
                </c:pt>
                <c:pt idx="77">
                  <c:v>0.2891748675246026</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27.5414</c:v>
                </c:pt>
                <c:pt idx="1">
                  <c:v>28.3056</c:v>
                </c:pt>
                <c:pt idx="2">
                  <c:v>27.726</c:v>
                </c:pt>
                <c:pt idx="3">
                  <c:v>28.5259</c:v>
                </c:pt>
                <c:pt idx="4">
                  <c:v>29.2039</c:v>
                </c:pt>
                <c:pt idx="5">
                  <c:v>28.0928</c:v>
                </c:pt>
                <c:pt idx="6">
                  <c:v>26.7645</c:v>
                </c:pt>
                <c:pt idx="7">
                  <c:v>28.2043</c:v>
                </c:pt>
                <c:pt idx="8">
                  <c:v>28.0826</c:v>
                </c:pt>
                <c:pt idx="9">
                  <c:v>30.4558</c:v>
                </c:pt>
                <c:pt idx="10">
                  <c:v>30.2136</c:v>
                </c:pt>
                <c:pt idx="11">
                  <c:v>30.0123</c:v>
                </c:pt>
                <c:pt idx="12">
                  <c:v>29.9137</c:v>
                </c:pt>
                <c:pt idx="13">
                  <c:v>29.7179</c:v>
                </c:pt>
                <c:pt idx="14">
                  <c:v>27.4498</c:v>
                </c:pt>
                <c:pt idx="15">
                  <c:v>27.9044</c:v>
                </c:pt>
                <c:pt idx="16">
                  <c:v>27.4807</c:v>
                </c:pt>
                <c:pt idx="17">
                  <c:v>27.1649</c:v>
                </c:pt>
                <c:pt idx="18">
                  <c:v>28.9958</c:v>
                </c:pt>
                <c:pt idx="19">
                  <c:v>29.9117</c:v>
                </c:pt>
                <c:pt idx="20">
                  <c:v>30.0229</c:v>
                </c:pt>
                <c:pt idx="21">
                  <c:v>31.9494</c:v>
                </c:pt>
                <c:pt idx="22">
                  <c:v>30.2678</c:v>
                </c:pt>
                <c:pt idx="23">
                  <c:v>30.3829</c:v>
                </c:pt>
                <c:pt idx="24">
                  <c:v>30.459</c:v>
                </c:pt>
                <c:pt idx="25">
                  <c:v>30.7344</c:v>
                </c:pt>
                <c:pt idx="26">
                  <c:v>30.5152</c:v>
                </c:pt>
                <c:pt idx="27">
                  <c:v>30.3508</c:v>
                </c:pt>
                <c:pt idx="28">
                  <c:v>30.618</c:v>
                </c:pt>
                <c:pt idx="29">
                  <c:v>30.1511</c:v>
                </c:pt>
                <c:pt idx="30">
                  <c:v>29.8217</c:v>
                </c:pt>
                <c:pt idx="31">
                  <c:v>30.399</c:v>
                </c:pt>
                <c:pt idx="32">
                  <c:v>30.9825</c:v>
                </c:pt>
                <c:pt idx="33">
                  <c:v>30.2654</c:v>
                </c:pt>
                <c:pt idx="34">
                  <c:v>30.0231</c:v>
                </c:pt>
                <c:pt idx="35">
                  <c:v>30.3863</c:v>
                </c:pt>
                <c:pt idx="36">
                  <c:v>30.1148</c:v>
                </c:pt>
                <c:pt idx="37">
                  <c:v>30.5038</c:v>
                </c:pt>
                <c:pt idx="38">
                  <c:v>30.0065</c:v>
                </c:pt>
                <c:pt idx="39">
                  <c:v>30.1011</c:v>
                </c:pt>
                <c:pt idx="40">
                  <c:v>29.9979</c:v>
                </c:pt>
                <c:pt idx="41">
                  <c:v>30.5528</c:v>
                </c:pt>
                <c:pt idx="42">
                  <c:v>28.6313</c:v>
                </c:pt>
                <c:pt idx="43">
                  <c:v>28.514</c:v>
                </c:pt>
                <c:pt idx="44">
                  <c:v>28.1779</c:v>
                </c:pt>
                <c:pt idx="45">
                  <c:v>27.823</c:v>
                </c:pt>
                <c:pt idx="46">
                  <c:v>29.6348</c:v>
                </c:pt>
                <c:pt idx="47">
                  <c:v>29.9528</c:v>
                </c:pt>
                <c:pt idx="48">
                  <c:v>30.6614</c:v>
                </c:pt>
                <c:pt idx="49">
                  <c:v>29.818</c:v>
                </c:pt>
                <c:pt idx="50">
                  <c:v>30.2048</c:v>
                </c:pt>
                <c:pt idx="51">
                  <c:v>29.6348</c:v>
                </c:pt>
              </c:numCache>
            </c:numRef>
          </c:xVal>
          <c:yVal>
            <c:numRef>
              <c:f>Sheet1!$B$82:$B$133</c:f>
              <c:numCache>
                <c:formatCode>General</c:formatCode>
                <c:ptCount val="52"/>
                <c:pt idx="0">
                  <c:v>0.2514177693761815</c:v>
                </c:pt>
                <c:pt idx="1">
                  <c:v>0.25720930232558137</c:v>
                </c:pt>
                <c:pt idx="2">
                  <c:v>0.28387429160226685</c:v>
                </c:pt>
                <c:pt idx="3">
                  <c:v>0.2906774753908512</c:v>
                </c:pt>
                <c:pt idx="4">
                  <c:v>0.23383409536250815</c:v>
                </c:pt>
                <c:pt idx="5">
                  <c:v>0.2742448330683625</c:v>
                </c:pt>
                <c:pt idx="6">
                  <c:v>0.2329136690647482</c:v>
                </c:pt>
                <c:pt idx="7">
                  <c:v>0.2687188019966722</c:v>
                </c:pt>
                <c:pt idx="8">
                  <c:v>0.29132362254591515</c:v>
                </c:pt>
                <c:pt idx="9">
                  <c:v>0.16770186335403728</c:v>
                </c:pt>
                <c:pt idx="10">
                  <c:v>0.17326948193295602</c:v>
                </c:pt>
                <c:pt idx="11">
                  <c:v>0.2295701464336325</c:v>
                </c:pt>
                <c:pt idx="12">
                  <c:v>0.18302910705476072</c:v>
                </c:pt>
                <c:pt idx="13">
                  <c:v>0.16984807167900273</c:v>
                </c:pt>
                <c:pt idx="14">
                  <c:v>0.18836363636363637</c:v>
                </c:pt>
                <c:pt idx="15">
                  <c:v>0.22638368705784437</c:v>
                </c:pt>
                <c:pt idx="16">
                  <c:v>0.30324909747292417</c:v>
                </c:pt>
                <c:pt idx="17">
                  <c:v>0.2896606156274665</c:v>
                </c:pt>
                <c:pt idx="18">
                  <c:v>0.2775382203057625</c:v>
                </c:pt>
                <c:pt idx="19">
                  <c:v>0.3068731848983543</c:v>
                </c:pt>
                <c:pt idx="20">
                  <c:v>0.18363064008394545</c:v>
                </c:pt>
                <c:pt idx="21">
                  <c:v>0.22083948534064543</c:v>
                </c:pt>
                <c:pt idx="22">
                  <c:v>0.15277246653919693</c:v>
                </c:pt>
                <c:pt idx="23">
                  <c:v>0.12461143397756454</c:v>
                </c:pt>
                <c:pt idx="24">
                  <c:v>0.12039517749497655</c:v>
                </c:pt>
                <c:pt idx="25">
                  <c:v>0.11894747138804657</c:v>
                </c:pt>
                <c:pt idx="26">
                  <c:v>0.16923076923076924</c:v>
                </c:pt>
                <c:pt idx="27">
                  <c:v>0.23454545454545456</c:v>
                </c:pt>
                <c:pt idx="28">
                  <c:v>0.2808988764044944</c:v>
                </c:pt>
                <c:pt idx="29">
                  <c:v>0.30301129234629864</c:v>
                </c:pt>
                <c:pt idx="30">
                  <c:v>0.28151774785801714</c:v>
                </c:pt>
                <c:pt idx="31">
                  <c:v>0.2486050836949783</c:v>
                </c:pt>
                <c:pt idx="32">
                  <c:v>0.16827528325639948</c:v>
                </c:pt>
                <c:pt idx="33">
                  <c:v>0.2655786350148368</c:v>
                </c:pt>
                <c:pt idx="34">
                  <c:v>0.25676567656765675</c:v>
                </c:pt>
                <c:pt idx="35">
                  <c:v>0.19109947643979058</c:v>
                </c:pt>
                <c:pt idx="36">
                  <c:v>0.18865979381443299</c:v>
                </c:pt>
                <c:pt idx="37">
                  <c:v>0.20165033522434245</c:v>
                </c:pt>
                <c:pt idx="38">
                  <c:v>0.21023765996343693</c:v>
                </c:pt>
                <c:pt idx="39">
                  <c:v>0.26147704590818366</c:v>
                </c:pt>
                <c:pt idx="40">
                  <c:v>0.26407657657657657</c:v>
                </c:pt>
                <c:pt idx="41">
                  <c:v>0.22476272648835202</c:v>
                </c:pt>
                <c:pt idx="42">
                  <c:v>0.3231046931407942</c:v>
                </c:pt>
                <c:pt idx="43">
                  <c:v>0.339654210819855</c:v>
                </c:pt>
                <c:pt idx="44">
                  <c:v>0.33487565066512437</c:v>
                </c:pt>
                <c:pt idx="45">
                  <c:v>0.3230109575988566</c:v>
                </c:pt>
                <c:pt idx="46">
                  <c:v>0.25586001980851764</c:v>
                </c:pt>
                <c:pt idx="47">
                  <c:v>0.20208900999091733</c:v>
                </c:pt>
                <c:pt idx="48">
                  <c:v>0.18310369833212473</c:v>
                </c:pt>
                <c:pt idx="49">
                  <c:v>0.28109656301145663</c:v>
                </c:pt>
                <c:pt idx="50">
                  <c:v>0.26585623678646936</c:v>
                </c:pt>
                <c:pt idx="51">
                  <c:v>0.24698504582730343</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28.147616140225907</c:v>
                </c:pt>
              </c:numCache>
            </c:numRef>
          </c:xVal>
          <c:yVal>
            <c:numRef>
              <c:f>Sheet1!$B$136:$B$137</c:f>
              <c:numCache>
                <c:formatCode>General</c:formatCode>
                <c:ptCount val="2"/>
                <c:pt idx="0">
                  <c:v>0.2696886488426563</c:v>
                </c:pt>
                <c:pt idx="1">
                  <c:v>0.2696886488426563</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28.147616140225907</c:v>
                </c:pt>
                <c:pt idx="1">
                  <c:v>28.147616140225907</c:v>
                </c:pt>
              </c:numCache>
            </c:numRef>
          </c:xVal>
          <c:yVal>
            <c:numRef>
              <c:f>Sheet1!$B$140:$B$141</c:f>
              <c:numCache>
                <c:formatCode>General</c:formatCode>
                <c:ptCount val="2"/>
                <c:pt idx="0">
                  <c:v>0.269688648842656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28.147616140225907</c:v>
                </c:pt>
              </c:numCache>
            </c:numRef>
          </c:xVal>
          <c:yVal>
            <c:numRef>
              <c:f>Sheet1!$B$144:$B$145</c:f>
              <c:numCache>
                <c:formatCode>General</c:formatCode>
                <c:ptCount val="2"/>
                <c:pt idx="0">
                  <c:v>0.2696886488426563</c:v>
                </c:pt>
                <c:pt idx="1">
                  <c:v>0.2696886488426563</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28.147616140225907</c:v>
                </c:pt>
                <c:pt idx="1">
                  <c:v>28.147616140225907</c:v>
                </c:pt>
              </c:numCache>
            </c:numRef>
          </c:xVal>
          <c:yVal>
            <c:numRef>
              <c:f>Sheet1!$B$148:$B$149</c:f>
              <c:numCache>
                <c:formatCode>General</c:formatCode>
                <c:ptCount val="2"/>
                <c:pt idx="0">
                  <c:v>0.26968864884265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28.14761614022591</c:v>
                </c:pt>
              </c:numCache>
            </c:numRef>
          </c:xVal>
          <c:yVal>
            <c:numRef>
              <c:f>Sheet1!$B$152:$B$153</c:f>
              <c:numCache>
                <c:formatCode>General</c:formatCode>
                <c:ptCount val="2"/>
                <c:pt idx="0">
                  <c:v>0.26968864884265625</c:v>
                </c:pt>
                <c:pt idx="1">
                  <c:v>0.26968864884265625</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28.14761614022591</c:v>
                </c:pt>
                <c:pt idx="1">
                  <c:v>28.14761614022591</c:v>
                </c:pt>
              </c:numCache>
            </c:numRef>
          </c:xVal>
          <c:yVal>
            <c:numRef>
              <c:f>Sheet1!$B$156:$B$157</c:f>
              <c:numCache>
                <c:formatCode>General</c:formatCode>
                <c:ptCount val="2"/>
                <c:pt idx="0">
                  <c:v>0.26968864884265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27.5414</c:v>
                </c:pt>
                <c:pt idx="1">
                  <c:v>28.3056</c:v>
                </c:pt>
                <c:pt idx="2">
                  <c:v>27.726</c:v>
                </c:pt>
                <c:pt idx="3">
                  <c:v>28.5259</c:v>
                </c:pt>
                <c:pt idx="4">
                  <c:v>29.2039</c:v>
                </c:pt>
                <c:pt idx="5">
                  <c:v>28.0928</c:v>
                </c:pt>
                <c:pt idx="6">
                  <c:v>26.7645</c:v>
                </c:pt>
                <c:pt idx="7">
                  <c:v>28.2043</c:v>
                </c:pt>
                <c:pt idx="8">
                  <c:v>28.0826</c:v>
                </c:pt>
                <c:pt idx="9">
                  <c:v>30.4558</c:v>
                </c:pt>
                <c:pt idx="10">
                  <c:v>30.2136</c:v>
                </c:pt>
                <c:pt idx="11">
                  <c:v>30.0123</c:v>
                </c:pt>
                <c:pt idx="12">
                  <c:v>29.9137</c:v>
                </c:pt>
                <c:pt idx="13">
                  <c:v>29.7179</c:v>
                </c:pt>
                <c:pt idx="14">
                  <c:v>27.4498</c:v>
                </c:pt>
                <c:pt idx="15">
                  <c:v>27.9044</c:v>
                </c:pt>
                <c:pt idx="16">
                  <c:v>27.4807</c:v>
                </c:pt>
                <c:pt idx="17">
                  <c:v>27.1649</c:v>
                </c:pt>
                <c:pt idx="18">
                  <c:v>28.9958</c:v>
                </c:pt>
                <c:pt idx="19">
                  <c:v>29.9117</c:v>
                </c:pt>
                <c:pt idx="20">
                  <c:v>30.0229</c:v>
                </c:pt>
                <c:pt idx="21">
                  <c:v>31.9494</c:v>
                </c:pt>
                <c:pt idx="22">
                  <c:v>30.2678</c:v>
                </c:pt>
                <c:pt idx="23">
                  <c:v>30.3829</c:v>
                </c:pt>
                <c:pt idx="24">
                  <c:v>30.459</c:v>
                </c:pt>
                <c:pt idx="25">
                  <c:v>30.7344</c:v>
                </c:pt>
                <c:pt idx="26">
                  <c:v>30.5152</c:v>
                </c:pt>
                <c:pt idx="27">
                  <c:v>30.3508</c:v>
                </c:pt>
                <c:pt idx="28">
                  <c:v>30.618</c:v>
                </c:pt>
                <c:pt idx="29">
                  <c:v>30.1511</c:v>
                </c:pt>
                <c:pt idx="30">
                  <c:v>29.8217</c:v>
                </c:pt>
                <c:pt idx="31">
                  <c:v>30.399</c:v>
                </c:pt>
                <c:pt idx="32">
                  <c:v>30.9825</c:v>
                </c:pt>
                <c:pt idx="33">
                  <c:v>30.2654</c:v>
                </c:pt>
                <c:pt idx="34">
                  <c:v>30.0231</c:v>
                </c:pt>
                <c:pt idx="35">
                  <c:v>30.3863</c:v>
                </c:pt>
                <c:pt idx="36">
                  <c:v>30.1148</c:v>
                </c:pt>
                <c:pt idx="37">
                  <c:v>30.5038</c:v>
                </c:pt>
                <c:pt idx="38">
                  <c:v>30.0065</c:v>
                </c:pt>
                <c:pt idx="39">
                  <c:v>30.1011</c:v>
                </c:pt>
                <c:pt idx="40">
                  <c:v>29.9979</c:v>
                </c:pt>
                <c:pt idx="41">
                  <c:v>30.5528</c:v>
                </c:pt>
                <c:pt idx="42">
                  <c:v>28.6313</c:v>
                </c:pt>
                <c:pt idx="43">
                  <c:v>28.514</c:v>
                </c:pt>
                <c:pt idx="44">
                  <c:v>28.1779</c:v>
                </c:pt>
                <c:pt idx="45">
                  <c:v>27.823</c:v>
                </c:pt>
                <c:pt idx="46">
                  <c:v>29.6348</c:v>
                </c:pt>
                <c:pt idx="47">
                  <c:v>29.9528</c:v>
                </c:pt>
                <c:pt idx="48">
                  <c:v>30.6614</c:v>
                </c:pt>
                <c:pt idx="49">
                  <c:v>29.818</c:v>
                </c:pt>
                <c:pt idx="50">
                  <c:v>30.2048</c:v>
                </c:pt>
                <c:pt idx="51">
                  <c:v>29.6348</c:v>
                </c:pt>
                <c:pt idx="52">
                  <c:v>28.147616140225907</c:v>
                </c:pt>
                <c:pt idx="53">
                  <c:v>28.147616140225907</c:v>
                </c:pt>
                <c:pt idx="54">
                  <c:v>28.14761614022591</c:v>
                </c:pt>
              </c:numCache>
            </c:numRef>
          </c:xVal>
          <c:yVal>
            <c:numRef>
              <c:f>Sheet1!$B$160:$B$214</c:f>
              <c:numCache>
                <c:formatCode>General</c:formatCode>
                <c:ptCount val="55"/>
                <c:pt idx="0">
                  <c:v>0.28445773678130915</c:v>
                </c:pt>
                <c:pt idx="1">
                  <c:v>0.2658397286917975</c:v>
                </c:pt>
                <c:pt idx="2">
                  <c:v>0.2799603744503436</c:v>
                </c:pt>
                <c:pt idx="3">
                  <c:v>0.26047261644092146</c:v>
                </c:pt>
                <c:pt idx="4">
                  <c:v>0.24395467678547922</c:v>
                </c:pt>
                <c:pt idx="5">
                  <c:v>0.27102412037126367</c:v>
                </c:pt>
                <c:pt idx="6">
                  <c:v>0.30338515170507474</c:v>
                </c:pt>
                <c:pt idx="7">
                  <c:v>0.2683076745429719</c:v>
                </c:pt>
                <c:pt idx="8">
                  <c:v>0.27127262034838096</c:v>
                </c:pt>
                <c:pt idx="9">
                  <c:v>0.21345495900576217</c:v>
                </c:pt>
                <c:pt idx="10">
                  <c:v>0.21935561532515468</c:v>
                </c:pt>
                <c:pt idx="11">
                  <c:v>0.22425983546179262</c:v>
                </c:pt>
                <c:pt idx="12">
                  <c:v>0.2266620019072596</c:v>
                </c:pt>
                <c:pt idx="13">
                  <c:v>0.2314322269581971</c:v>
                </c:pt>
                <c:pt idx="14">
                  <c:v>0.2866893640267937</c:v>
                </c:pt>
                <c:pt idx="15">
                  <c:v>0.2756140611250768</c:v>
                </c:pt>
                <c:pt idx="16">
                  <c:v>0.28593655527258555</c:v>
                </c:pt>
                <c:pt idx="17">
                  <c:v>0.29363030946607915</c:v>
                </c:pt>
                <c:pt idx="18">
                  <c:v>0.24902456357352865</c:v>
                </c:pt>
                <c:pt idx="19">
                  <c:v>0.22671072739296882</c:v>
                </c:pt>
                <c:pt idx="20">
                  <c:v>0.22400159038753353</c:v>
                </c:pt>
                <c:pt idx="21">
                  <c:v>0.17706676627808005</c:v>
                </c:pt>
                <c:pt idx="22">
                  <c:v>0.2180351546624335</c:v>
                </c:pt>
                <c:pt idx="23">
                  <c:v>0.21523100295986508</c:v>
                </c:pt>
                <c:pt idx="24">
                  <c:v>0.21337699822862743</c:v>
                </c:pt>
                <c:pt idx="25">
                  <c:v>0.20666749884646096</c:v>
                </c:pt>
                <c:pt idx="26">
                  <c:v>0.21200781208019692</c:v>
                </c:pt>
                <c:pt idx="27">
                  <c:v>0.21601304700549884</c:v>
                </c:pt>
                <c:pt idx="28">
                  <c:v>0.20950332211474054</c:v>
                </c:pt>
                <c:pt idx="29">
                  <c:v>0.22087828675356935</c:v>
                </c:pt>
                <c:pt idx="30">
                  <c:v>0.22890337424988594</c:v>
                </c:pt>
                <c:pt idx="31">
                  <c:v>0.21483876279990544</c:v>
                </c:pt>
                <c:pt idx="32">
                  <c:v>0.2006231023442261</c:v>
                </c:pt>
                <c:pt idx="33">
                  <c:v>0.21809362524528464</c:v>
                </c:pt>
                <c:pt idx="34">
                  <c:v>0.22399671783896258</c:v>
                </c:pt>
                <c:pt idx="35">
                  <c:v>0.2151481696341594</c:v>
                </c:pt>
                <c:pt idx="36">
                  <c:v>0.22176265431919262</c:v>
                </c:pt>
                <c:pt idx="37">
                  <c:v>0.21228554734873983</c:v>
                </c:pt>
                <c:pt idx="38">
                  <c:v>0.22440113937034956</c:v>
                </c:pt>
                <c:pt idx="39">
                  <c:v>0.22209642389630113</c:v>
                </c:pt>
                <c:pt idx="40">
                  <c:v>0.2246106589588993</c:v>
                </c:pt>
                <c:pt idx="41">
                  <c:v>0.2110917729488626</c:v>
                </c:pt>
                <c:pt idx="42">
                  <c:v>0.257904783344043</c:v>
                </c:pt>
                <c:pt idx="43">
                  <c:v>0.2607625330808916</c:v>
                </c:pt>
                <c:pt idx="44">
                  <c:v>0.26895085095433424</c:v>
                </c:pt>
                <c:pt idx="45">
                  <c:v>0.27759718839344405</c:v>
                </c:pt>
                <c:pt idx="46">
                  <c:v>0.2334567708894172</c:v>
                </c:pt>
                <c:pt idx="47">
                  <c:v>0.2257094186616434</c:v>
                </c:pt>
                <c:pt idx="48">
                  <c:v>0.2084459790748493</c:v>
                </c:pt>
                <c:pt idx="49">
                  <c:v>0.22899351639844812</c:v>
                </c:pt>
                <c:pt idx="50">
                  <c:v>0.2195700074622755</c:v>
                </c:pt>
                <c:pt idx="51">
                  <c:v>0.2334567708894172</c:v>
                </c:pt>
                <c:pt idx="52">
                  <c:v>0.2696886488426563</c:v>
                </c:pt>
                <c:pt idx="53">
                  <c:v>0.2696886488426563</c:v>
                </c:pt>
                <c:pt idx="54">
                  <c:v>0.269688648842656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8.0"/>
          <c:min val="2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218113834648943"/>
          <c:min val="0.0882118584485587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33.1678</c:v>
                </c:pt>
                <c:pt idx="1">
                  <c:v>33.3441</c:v>
                </c:pt>
                <c:pt idx="2">
                  <c:v>33.2115</c:v>
                </c:pt>
                <c:pt idx="3">
                  <c:v>30.3131</c:v>
                </c:pt>
                <c:pt idx="4">
                  <c:v>30.8894</c:v>
                </c:pt>
                <c:pt idx="5">
                  <c:v>30.8486</c:v>
                </c:pt>
                <c:pt idx="6">
                  <c:v>32.8089</c:v>
                </c:pt>
                <c:pt idx="7">
                  <c:v>32.1884</c:v>
                </c:pt>
                <c:pt idx="8">
                  <c:v>31.4843</c:v>
                </c:pt>
                <c:pt idx="9">
                  <c:v>30.6132</c:v>
                </c:pt>
                <c:pt idx="10">
                  <c:v>32.0311</c:v>
                </c:pt>
                <c:pt idx="11">
                  <c:v>31.7939</c:v>
                </c:pt>
                <c:pt idx="12">
                  <c:v>31.3232</c:v>
                </c:pt>
                <c:pt idx="13">
                  <c:v>31.6734</c:v>
                </c:pt>
                <c:pt idx="14">
                  <c:v>31.6316</c:v>
                </c:pt>
                <c:pt idx="15">
                  <c:v>31.4022</c:v>
                </c:pt>
                <c:pt idx="16">
                  <c:v>30.4844</c:v>
                </c:pt>
                <c:pt idx="17">
                  <c:v>30.1028</c:v>
                </c:pt>
                <c:pt idx="18">
                  <c:v>29.8116</c:v>
                </c:pt>
                <c:pt idx="19">
                  <c:v>30.6706</c:v>
                </c:pt>
                <c:pt idx="20">
                  <c:v>29.9078</c:v>
                </c:pt>
                <c:pt idx="21">
                  <c:v>29.9041</c:v>
                </c:pt>
                <c:pt idx="22">
                  <c:v>29.7621</c:v>
                </c:pt>
                <c:pt idx="23">
                  <c:v>30.4622</c:v>
                </c:pt>
                <c:pt idx="24">
                  <c:v>30.6056</c:v>
                </c:pt>
                <c:pt idx="25">
                  <c:v>29.2236</c:v>
                </c:pt>
                <c:pt idx="26">
                  <c:v>30.0418</c:v>
                </c:pt>
                <c:pt idx="27">
                  <c:v>32.0545</c:v>
                </c:pt>
                <c:pt idx="28">
                  <c:v>30.5382</c:v>
                </c:pt>
                <c:pt idx="29">
                  <c:v>31.0056</c:v>
                </c:pt>
                <c:pt idx="30">
                  <c:v>30.5379</c:v>
                </c:pt>
                <c:pt idx="31">
                  <c:v>31.4507</c:v>
                </c:pt>
                <c:pt idx="32">
                  <c:v>30.5971</c:v>
                </c:pt>
                <c:pt idx="33">
                  <c:v>30.8837</c:v>
                </c:pt>
                <c:pt idx="34">
                  <c:v>30.8712</c:v>
                </c:pt>
                <c:pt idx="35">
                  <c:v>29.5976</c:v>
                </c:pt>
                <c:pt idx="36">
                  <c:v>28.6169</c:v>
                </c:pt>
                <c:pt idx="37">
                  <c:v>28.3635</c:v>
                </c:pt>
                <c:pt idx="38">
                  <c:v>29.3794</c:v>
                </c:pt>
                <c:pt idx="39">
                  <c:v>30.1064</c:v>
                </c:pt>
                <c:pt idx="40">
                  <c:v>30.4286</c:v>
                </c:pt>
                <c:pt idx="41">
                  <c:v>31.3272</c:v>
                </c:pt>
                <c:pt idx="42">
                  <c:v>31.2154</c:v>
                </c:pt>
                <c:pt idx="43">
                  <c:v>30.2088</c:v>
                </c:pt>
                <c:pt idx="44">
                  <c:v>30.9656</c:v>
                </c:pt>
                <c:pt idx="45">
                  <c:v>29.2614</c:v>
                </c:pt>
                <c:pt idx="46">
                  <c:v>29.6583</c:v>
                </c:pt>
                <c:pt idx="47">
                  <c:v>29.9647</c:v>
                </c:pt>
                <c:pt idx="48">
                  <c:v>30.024</c:v>
                </c:pt>
                <c:pt idx="49">
                  <c:v>31.22</c:v>
                </c:pt>
                <c:pt idx="50">
                  <c:v>31.0966</c:v>
                </c:pt>
                <c:pt idx="51">
                  <c:v>31.2665</c:v>
                </c:pt>
                <c:pt idx="52">
                  <c:v>33.5386</c:v>
                </c:pt>
                <c:pt idx="53">
                  <c:v>31.5105</c:v>
                </c:pt>
                <c:pt idx="54">
                  <c:v>32.6472</c:v>
                </c:pt>
                <c:pt idx="55">
                  <c:v>31.976</c:v>
                </c:pt>
                <c:pt idx="56">
                  <c:v>31.91</c:v>
                </c:pt>
                <c:pt idx="57">
                  <c:v>31.6659</c:v>
                </c:pt>
                <c:pt idx="58">
                  <c:v>32.6303</c:v>
                </c:pt>
                <c:pt idx="59">
                  <c:v>31.9133</c:v>
                </c:pt>
                <c:pt idx="60">
                  <c:v>32.015</c:v>
                </c:pt>
                <c:pt idx="61">
                  <c:v>31.9087</c:v>
                </c:pt>
                <c:pt idx="62">
                  <c:v>32.2274</c:v>
                </c:pt>
                <c:pt idx="63">
                  <c:v>32.7104</c:v>
                </c:pt>
                <c:pt idx="64">
                  <c:v>32.3996</c:v>
                </c:pt>
                <c:pt idx="65">
                  <c:v>32.7181</c:v>
                </c:pt>
                <c:pt idx="66">
                  <c:v>31.317</c:v>
                </c:pt>
                <c:pt idx="67">
                  <c:v>34.6095</c:v>
                </c:pt>
                <c:pt idx="68">
                  <c:v>35.6923</c:v>
                </c:pt>
                <c:pt idx="69">
                  <c:v>34.6379</c:v>
                </c:pt>
                <c:pt idx="70">
                  <c:v>34.8473</c:v>
                </c:pt>
                <c:pt idx="71">
                  <c:v>33.3972</c:v>
                </c:pt>
                <c:pt idx="72">
                  <c:v>32.7838</c:v>
                </c:pt>
                <c:pt idx="73">
                  <c:v>31.8201</c:v>
                </c:pt>
                <c:pt idx="74">
                  <c:v>32.737</c:v>
                </c:pt>
                <c:pt idx="75">
                  <c:v>29.1154</c:v>
                </c:pt>
                <c:pt idx="76">
                  <c:v>29.9262</c:v>
                </c:pt>
                <c:pt idx="77">
                  <c:v>29.1893</c:v>
                </c:pt>
              </c:numCache>
            </c:numRef>
          </c:xVal>
          <c:yVal>
            <c:numRef>
              <c:f>Sheet1!$B$2:$B$79</c:f>
              <c:numCache>
                <c:formatCode>General</c:formatCode>
                <c:ptCount val="78"/>
                <c:pt idx="0">
                  <c:v>0.09616223288268644</c:v>
                </c:pt>
                <c:pt idx="1">
                  <c:v>0.09129967776584318</c:v>
                </c:pt>
                <c:pt idx="2">
                  <c:v>0.09105914718019258</c:v>
                </c:pt>
                <c:pt idx="3">
                  <c:v>0.08078335373317014</c:v>
                </c:pt>
                <c:pt idx="4">
                  <c:v>0.12818035426731078</c:v>
                </c:pt>
                <c:pt idx="5">
                  <c:v>0.1468760222440301</c:v>
                </c:pt>
                <c:pt idx="6">
                  <c:v>0.136680208937899</c:v>
                </c:pt>
                <c:pt idx="7">
                  <c:v>0.14058679706601468</c:v>
                </c:pt>
                <c:pt idx="8">
                  <c:v>0.15672205438066467</c:v>
                </c:pt>
                <c:pt idx="9">
                  <c:v>0.14804469273743018</c:v>
                </c:pt>
                <c:pt idx="10">
                  <c:v>0.14801699716713881</c:v>
                </c:pt>
                <c:pt idx="11">
                  <c:v>0.16045038705137227</c:v>
                </c:pt>
                <c:pt idx="12">
                  <c:v>0.11491584445734185</c:v>
                </c:pt>
                <c:pt idx="13">
                  <c:v>0.17775603392041747</c:v>
                </c:pt>
                <c:pt idx="14">
                  <c:v>0.19125048393341076</c:v>
                </c:pt>
                <c:pt idx="15">
                  <c:v>0.21162613981762918</c:v>
                </c:pt>
                <c:pt idx="16">
                  <c:v>0.1967280163599182</c:v>
                </c:pt>
                <c:pt idx="17">
                  <c:v>0.21914594087282965</c:v>
                </c:pt>
                <c:pt idx="18">
                  <c:v>0.22062712504722326</c:v>
                </c:pt>
                <c:pt idx="19">
                  <c:v>0.1546801590169859</c:v>
                </c:pt>
                <c:pt idx="20">
                  <c:v>0.13297705124174788</c:v>
                </c:pt>
                <c:pt idx="21">
                  <c:v>0.10929622907844323</c:v>
                </c:pt>
                <c:pt idx="22">
                  <c:v>0.15969130305728702</c:v>
                </c:pt>
                <c:pt idx="23">
                  <c:v>0.16817906836055657</c:v>
                </c:pt>
                <c:pt idx="24">
                  <c:v>0.1771125662613034</c:v>
                </c:pt>
                <c:pt idx="25">
                  <c:v>0.18748128182090446</c:v>
                </c:pt>
                <c:pt idx="26">
                  <c:v>0.12977752424415287</c:v>
                </c:pt>
                <c:pt idx="27">
                  <c:v>0.17620041753653445</c:v>
                </c:pt>
                <c:pt idx="28">
                  <c:v>0.14989384288747346</c:v>
                </c:pt>
                <c:pt idx="29">
                  <c:v>0.16194331983805668</c:v>
                </c:pt>
                <c:pt idx="30">
                  <c:v>0.16467915956842702</c:v>
                </c:pt>
                <c:pt idx="31">
                  <c:v>0.18135376756066413</c:v>
                </c:pt>
                <c:pt idx="32">
                  <c:v>0.19225352112676056</c:v>
                </c:pt>
                <c:pt idx="33">
                  <c:v>0.1891891891891892</c:v>
                </c:pt>
                <c:pt idx="34">
                  <c:v>0.15974183138362244</c:v>
                </c:pt>
                <c:pt idx="35">
                  <c:v>0.16836043360433606</c:v>
                </c:pt>
                <c:pt idx="36">
                  <c:v>0.12784738041002278</c:v>
                </c:pt>
                <c:pt idx="37">
                  <c:v>0.17952964557800596</c:v>
                </c:pt>
                <c:pt idx="38">
                  <c:v>0.15119363395225463</c:v>
                </c:pt>
                <c:pt idx="39">
                  <c:v>0.12577833125778332</c:v>
                </c:pt>
                <c:pt idx="40">
                  <c:v>0.20136641495864796</c:v>
                </c:pt>
                <c:pt idx="41">
                  <c:v>0.19599198396793588</c:v>
                </c:pt>
                <c:pt idx="42">
                  <c:v>0.17054545454545456</c:v>
                </c:pt>
                <c:pt idx="43">
                  <c:v>0.2215909090909091</c:v>
                </c:pt>
                <c:pt idx="44">
                  <c:v>0.17203107658157601</c:v>
                </c:pt>
                <c:pt idx="45">
                  <c:v>0.1456953642384106</c:v>
                </c:pt>
                <c:pt idx="46">
                  <c:v>0.09558191507649992</c:v>
                </c:pt>
                <c:pt idx="47">
                  <c:v>0.12798579728857326</c:v>
                </c:pt>
                <c:pt idx="48">
                  <c:v>0.10033042955842596</c:v>
                </c:pt>
                <c:pt idx="49">
                  <c:v>0.10361806893598802</c:v>
                </c:pt>
                <c:pt idx="50">
                  <c:v>0.08973582161900145</c:v>
                </c:pt>
                <c:pt idx="51">
                  <c:v>0.10542346236981726</c:v>
                </c:pt>
                <c:pt idx="52">
                  <c:v>0.10469576034000207</c:v>
                </c:pt>
                <c:pt idx="53">
                  <c:v>0.11856474258970359</c:v>
                </c:pt>
                <c:pt idx="54">
                  <c:v>0.137</c:v>
                </c:pt>
                <c:pt idx="55">
                  <c:v>0.12409000661813369</c:v>
                </c:pt>
                <c:pt idx="56">
                  <c:v>0.12080745341614907</c:v>
                </c:pt>
                <c:pt idx="57">
                  <c:v>0.17971014492753623</c:v>
                </c:pt>
                <c:pt idx="58">
                  <c:v>0.19298245614035087</c:v>
                </c:pt>
                <c:pt idx="59">
                  <c:v>0.2118918918918919</c:v>
                </c:pt>
                <c:pt idx="60">
                  <c:v>0.16320716320716322</c:v>
                </c:pt>
                <c:pt idx="61">
                  <c:v>0.1855586930213796</c:v>
                </c:pt>
                <c:pt idx="62">
                  <c:v>0.17212460063897764</c:v>
                </c:pt>
                <c:pt idx="63">
                  <c:v>0.16847372810675562</c:v>
                </c:pt>
                <c:pt idx="64">
                  <c:v>0.1443953616786306</c:v>
                </c:pt>
                <c:pt idx="65">
                  <c:v>0.20608575380359612</c:v>
                </c:pt>
                <c:pt idx="66">
                  <c:v>0.2011404872991187</c:v>
                </c:pt>
                <c:pt idx="67">
                  <c:v>0.2797825012357884</c:v>
                </c:pt>
                <c:pt idx="68">
                  <c:v>0.21011004126547456</c:v>
                </c:pt>
                <c:pt idx="69">
                  <c:v>0.28040117007939824</c:v>
                </c:pt>
                <c:pt idx="70">
                  <c:v>0.2952495490078172</c:v>
                </c:pt>
                <c:pt idx="71">
                  <c:v>0.16103896103896104</c:v>
                </c:pt>
                <c:pt idx="72">
                  <c:v>0.11516694963214488</c:v>
                </c:pt>
                <c:pt idx="73">
                  <c:v>0.13898809523809524</c:v>
                </c:pt>
                <c:pt idx="74">
                  <c:v>0.1590594744121715</c:v>
                </c:pt>
                <c:pt idx="75">
                  <c:v>0.32078907435508347</c:v>
                </c:pt>
                <c:pt idx="76">
                  <c:v>0.2693420101229212</c:v>
                </c:pt>
                <c:pt idx="77">
                  <c:v>0.2143078352431093</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29.1961</c:v>
                </c:pt>
                <c:pt idx="1">
                  <c:v>29.6236</c:v>
                </c:pt>
                <c:pt idx="2">
                  <c:v>30.4714</c:v>
                </c:pt>
                <c:pt idx="3">
                  <c:v>29.4913</c:v>
                </c:pt>
                <c:pt idx="4">
                  <c:v>29.0848</c:v>
                </c:pt>
                <c:pt idx="5">
                  <c:v>30.887</c:v>
                </c:pt>
                <c:pt idx="6">
                  <c:v>30.3356</c:v>
                </c:pt>
                <c:pt idx="7">
                  <c:v>30.6425</c:v>
                </c:pt>
                <c:pt idx="8">
                  <c:v>29.6385</c:v>
                </c:pt>
                <c:pt idx="9">
                  <c:v>32.1649</c:v>
                </c:pt>
                <c:pt idx="10">
                  <c:v>32.1264</c:v>
                </c:pt>
                <c:pt idx="11">
                  <c:v>31.8218</c:v>
                </c:pt>
                <c:pt idx="12">
                  <c:v>31.7983</c:v>
                </c:pt>
                <c:pt idx="13">
                  <c:v>32.4454</c:v>
                </c:pt>
                <c:pt idx="14">
                  <c:v>29.181</c:v>
                </c:pt>
                <c:pt idx="15">
                  <c:v>28.7397</c:v>
                </c:pt>
                <c:pt idx="16">
                  <c:v>28.7562</c:v>
                </c:pt>
                <c:pt idx="17">
                  <c:v>28.9672</c:v>
                </c:pt>
                <c:pt idx="18">
                  <c:v>30.097</c:v>
                </c:pt>
                <c:pt idx="19">
                  <c:v>32.7738</c:v>
                </c:pt>
                <c:pt idx="20">
                  <c:v>32.0998</c:v>
                </c:pt>
                <c:pt idx="21">
                  <c:v>33.3694</c:v>
                </c:pt>
                <c:pt idx="22">
                  <c:v>31.6239</c:v>
                </c:pt>
                <c:pt idx="23">
                  <c:v>31.6931</c:v>
                </c:pt>
                <c:pt idx="24">
                  <c:v>32.3079</c:v>
                </c:pt>
                <c:pt idx="25">
                  <c:v>32.9479</c:v>
                </c:pt>
                <c:pt idx="26">
                  <c:v>31.5045</c:v>
                </c:pt>
                <c:pt idx="27">
                  <c:v>33.9901</c:v>
                </c:pt>
                <c:pt idx="28">
                  <c:v>31.9347</c:v>
                </c:pt>
                <c:pt idx="29">
                  <c:v>32.3659</c:v>
                </c:pt>
                <c:pt idx="30">
                  <c:v>32.165</c:v>
                </c:pt>
                <c:pt idx="31">
                  <c:v>31.9528</c:v>
                </c:pt>
                <c:pt idx="32">
                  <c:v>32.8986</c:v>
                </c:pt>
                <c:pt idx="33">
                  <c:v>31.6842</c:v>
                </c:pt>
                <c:pt idx="34">
                  <c:v>31.7143</c:v>
                </c:pt>
                <c:pt idx="35">
                  <c:v>31.9364</c:v>
                </c:pt>
                <c:pt idx="36">
                  <c:v>32.3955</c:v>
                </c:pt>
                <c:pt idx="37">
                  <c:v>31.6354</c:v>
                </c:pt>
                <c:pt idx="38">
                  <c:v>31.8727</c:v>
                </c:pt>
                <c:pt idx="39">
                  <c:v>31.639</c:v>
                </c:pt>
                <c:pt idx="40">
                  <c:v>31.7164</c:v>
                </c:pt>
                <c:pt idx="41">
                  <c:v>32.207</c:v>
                </c:pt>
                <c:pt idx="42">
                  <c:v>29.6096</c:v>
                </c:pt>
                <c:pt idx="43">
                  <c:v>29.8059</c:v>
                </c:pt>
                <c:pt idx="44">
                  <c:v>30.0138</c:v>
                </c:pt>
                <c:pt idx="45">
                  <c:v>30.0123</c:v>
                </c:pt>
                <c:pt idx="46">
                  <c:v>31.2283</c:v>
                </c:pt>
                <c:pt idx="47">
                  <c:v>32.0782</c:v>
                </c:pt>
                <c:pt idx="48">
                  <c:v>31.6144</c:v>
                </c:pt>
                <c:pt idx="49">
                  <c:v>32.4817</c:v>
                </c:pt>
                <c:pt idx="50">
                  <c:v>31.7846</c:v>
                </c:pt>
                <c:pt idx="51">
                  <c:v>31.5209</c:v>
                </c:pt>
              </c:numCache>
            </c:numRef>
          </c:xVal>
          <c:yVal>
            <c:numRef>
              <c:f>Sheet1!$B$82:$B$133</c:f>
              <c:numCache>
                <c:formatCode>General</c:formatCode>
                <c:ptCount val="52"/>
                <c:pt idx="0">
                  <c:v>0.21636363636363637</c:v>
                </c:pt>
                <c:pt idx="1">
                  <c:v>0.2095617529880478</c:v>
                </c:pt>
                <c:pt idx="2">
                  <c:v>0.20843672456575682</c:v>
                </c:pt>
                <c:pt idx="3">
                  <c:v>0.22954091816367264</c:v>
                </c:pt>
                <c:pt idx="4">
                  <c:v>0.2156319290465632</c:v>
                </c:pt>
                <c:pt idx="5">
                  <c:v>0.20207612456747404</c:v>
                </c:pt>
                <c:pt idx="6">
                  <c:v>0.24292845257903495</c:v>
                </c:pt>
                <c:pt idx="7">
                  <c:v>0.23830877642536835</c:v>
                </c:pt>
                <c:pt idx="8">
                  <c:v>0.23792756539235413</c:v>
                </c:pt>
                <c:pt idx="9">
                  <c:v>0.14556716995741387</c:v>
                </c:pt>
                <c:pt idx="10">
                  <c:v>0.1474820143884892</c:v>
                </c:pt>
                <c:pt idx="11">
                  <c:v>0.17733990147783252</c:v>
                </c:pt>
                <c:pt idx="12">
                  <c:v>0.18062335711603456</c:v>
                </c:pt>
                <c:pt idx="13">
                  <c:v>0.11952971913781842</c:v>
                </c:pt>
                <c:pt idx="14">
                  <c:v>0.16968325791855204</c:v>
                </c:pt>
                <c:pt idx="15">
                  <c:v>0.2326423165514972</c:v>
                </c:pt>
                <c:pt idx="16">
                  <c:v>0.21740687679083096</c:v>
                </c:pt>
                <c:pt idx="17">
                  <c:v>0.24276410998552822</c:v>
                </c:pt>
                <c:pt idx="18">
                  <c:v>0.24905139703345983</c:v>
                </c:pt>
                <c:pt idx="19">
                  <c:v>0.19250871080139373</c:v>
                </c:pt>
                <c:pt idx="20">
                  <c:v>0.14213947990543735</c:v>
                </c:pt>
                <c:pt idx="21">
                  <c:v>0.19530102790014683</c:v>
                </c:pt>
                <c:pt idx="22">
                  <c:v>0.11936704506363949</c:v>
                </c:pt>
                <c:pt idx="23">
                  <c:v>0.09178990311065782</c:v>
                </c:pt>
                <c:pt idx="24">
                  <c:v>0.10214673271998113</c:v>
                </c:pt>
                <c:pt idx="25">
                  <c:v>0.10488702049395691</c:v>
                </c:pt>
                <c:pt idx="26">
                  <c:v>0.11372950819672131</c:v>
                </c:pt>
                <c:pt idx="27">
                  <c:v>0.14458177637252084</c:v>
                </c:pt>
                <c:pt idx="28">
                  <c:v>0.18455743879472694</c:v>
                </c:pt>
                <c:pt idx="29">
                  <c:v>0.20098039215686275</c:v>
                </c:pt>
                <c:pt idx="30">
                  <c:v>0.2002446982055465</c:v>
                </c:pt>
                <c:pt idx="31">
                  <c:v>0.14937898623699228</c:v>
                </c:pt>
                <c:pt idx="32">
                  <c:v>0.1274596182085169</c:v>
                </c:pt>
                <c:pt idx="33">
                  <c:v>0.216260162601626</c:v>
                </c:pt>
                <c:pt idx="34">
                  <c:v>0.21428571428571427</c:v>
                </c:pt>
                <c:pt idx="35">
                  <c:v>0.18446601941747573</c:v>
                </c:pt>
                <c:pt idx="36">
                  <c:v>0.15527681660899653</c:v>
                </c:pt>
                <c:pt idx="37">
                  <c:v>0.15806322529011604</c:v>
                </c:pt>
                <c:pt idx="38">
                  <c:v>0.1508029768899334</c:v>
                </c:pt>
                <c:pt idx="39">
                  <c:v>0.20158929318276872</c:v>
                </c:pt>
                <c:pt idx="40">
                  <c:v>0.20444638186573671</c:v>
                </c:pt>
                <c:pt idx="41">
                  <c:v>0.17519083969465649</c:v>
                </c:pt>
                <c:pt idx="42">
                  <c:v>0.2275219298245614</c:v>
                </c:pt>
                <c:pt idx="43">
                  <c:v>0.2556179775280899</c:v>
                </c:pt>
                <c:pt idx="44">
                  <c:v>0.2906666666666667</c:v>
                </c:pt>
                <c:pt idx="45">
                  <c:v>0.25608798114689707</c:v>
                </c:pt>
                <c:pt idx="46">
                  <c:v>0.16073384446878422</c:v>
                </c:pt>
                <c:pt idx="47">
                  <c:v>0.15538194444444445</c:v>
                </c:pt>
                <c:pt idx="48">
                  <c:v>0.14212586570310148</c:v>
                </c:pt>
                <c:pt idx="49">
                  <c:v>0.17498314227916387</c:v>
                </c:pt>
                <c:pt idx="50">
                  <c:v>0.2172651432716721</c:v>
                </c:pt>
                <c:pt idx="51">
                  <c:v>0.17515573470135581</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29.792956756135364</c:v>
                </c:pt>
              </c:numCache>
            </c:numRef>
          </c:xVal>
          <c:yVal>
            <c:numRef>
              <c:f>Sheet1!$B$136:$B$137</c:f>
              <c:numCache>
                <c:formatCode>General</c:formatCode>
                <c:ptCount val="2"/>
                <c:pt idx="0">
                  <c:v>0.21934322328720615</c:v>
                </c:pt>
                <c:pt idx="1">
                  <c:v>0.21934322328720615</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29.792956756135364</c:v>
                </c:pt>
                <c:pt idx="1">
                  <c:v>29.792956756135364</c:v>
                </c:pt>
              </c:numCache>
            </c:numRef>
          </c:xVal>
          <c:yVal>
            <c:numRef>
              <c:f>Sheet1!$B$140:$B$141</c:f>
              <c:numCache>
                <c:formatCode>General</c:formatCode>
                <c:ptCount val="2"/>
                <c:pt idx="0">
                  <c:v>0.219343223287206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30.471792984742734</c:v>
                </c:pt>
              </c:numCache>
            </c:numRef>
          </c:xVal>
          <c:yVal>
            <c:numRef>
              <c:f>Sheet1!$B$144:$B$145</c:f>
              <c:numCache>
                <c:formatCode>General</c:formatCode>
                <c:ptCount val="2"/>
                <c:pt idx="0">
                  <c:v>0.20398371715628297</c:v>
                </c:pt>
                <c:pt idx="1">
                  <c:v>0.20398371715628297</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30.471792984742734</c:v>
                </c:pt>
                <c:pt idx="1">
                  <c:v>30.471792984742734</c:v>
                </c:pt>
              </c:numCache>
            </c:numRef>
          </c:xVal>
          <c:yVal>
            <c:numRef>
              <c:f>Sheet1!$B$148:$B$149</c:f>
              <c:numCache>
                <c:formatCode>General</c:formatCode>
                <c:ptCount val="2"/>
                <c:pt idx="0">
                  <c:v>0.203983717156282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30.52286229268395</c:v>
                </c:pt>
              </c:numCache>
            </c:numRef>
          </c:xVal>
          <c:yVal>
            <c:numRef>
              <c:f>Sheet1!$B$152:$B$153</c:f>
              <c:numCache>
                <c:formatCode>General</c:formatCode>
                <c:ptCount val="2"/>
                <c:pt idx="0">
                  <c:v>0.20282821113676144</c:v>
                </c:pt>
                <c:pt idx="1">
                  <c:v>0.20282821113676144</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30.52286229268395</c:v>
                </c:pt>
                <c:pt idx="1">
                  <c:v>30.52286229268395</c:v>
                </c:pt>
              </c:numCache>
            </c:numRef>
          </c:xVal>
          <c:yVal>
            <c:numRef>
              <c:f>Sheet1!$B$156:$B$157</c:f>
              <c:numCache>
                <c:formatCode>General</c:formatCode>
                <c:ptCount val="2"/>
                <c:pt idx="0">
                  <c:v>0.2028282111367614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29.1961</c:v>
                </c:pt>
                <c:pt idx="1">
                  <c:v>29.6236</c:v>
                </c:pt>
                <c:pt idx="2">
                  <c:v>30.4714</c:v>
                </c:pt>
                <c:pt idx="3">
                  <c:v>29.4913</c:v>
                </c:pt>
                <c:pt idx="4">
                  <c:v>29.0848</c:v>
                </c:pt>
                <c:pt idx="5">
                  <c:v>30.887</c:v>
                </c:pt>
                <c:pt idx="6">
                  <c:v>30.3356</c:v>
                </c:pt>
                <c:pt idx="7">
                  <c:v>30.6425</c:v>
                </c:pt>
                <c:pt idx="8">
                  <c:v>29.6385</c:v>
                </c:pt>
                <c:pt idx="9">
                  <c:v>32.1649</c:v>
                </c:pt>
                <c:pt idx="10">
                  <c:v>32.1264</c:v>
                </c:pt>
                <c:pt idx="11">
                  <c:v>31.8218</c:v>
                </c:pt>
                <c:pt idx="12">
                  <c:v>31.7983</c:v>
                </c:pt>
                <c:pt idx="13">
                  <c:v>32.4454</c:v>
                </c:pt>
                <c:pt idx="14">
                  <c:v>29.181</c:v>
                </c:pt>
                <c:pt idx="15">
                  <c:v>28.7397</c:v>
                </c:pt>
                <c:pt idx="16">
                  <c:v>28.7562</c:v>
                </c:pt>
                <c:pt idx="17">
                  <c:v>28.9672</c:v>
                </c:pt>
                <c:pt idx="18">
                  <c:v>30.097</c:v>
                </c:pt>
                <c:pt idx="19">
                  <c:v>32.7738</c:v>
                </c:pt>
                <c:pt idx="20">
                  <c:v>32.0998</c:v>
                </c:pt>
                <c:pt idx="21">
                  <c:v>33.3694</c:v>
                </c:pt>
                <c:pt idx="22">
                  <c:v>31.6239</c:v>
                </c:pt>
                <c:pt idx="23">
                  <c:v>31.6931</c:v>
                </c:pt>
                <c:pt idx="24">
                  <c:v>32.3079</c:v>
                </c:pt>
                <c:pt idx="25">
                  <c:v>32.9479</c:v>
                </c:pt>
                <c:pt idx="26">
                  <c:v>31.5045</c:v>
                </c:pt>
                <c:pt idx="27">
                  <c:v>33.9901</c:v>
                </c:pt>
                <c:pt idx="28">
                  <c:v>31.9347</c:v>
                </c:pt>
                <c:pt idx="29">
                  <c:v>32.3659</c:v>
                </c:pt>
                <c:pt idx="30">
                  <c:v>32.165</c:v>
                </c:pt>
                <c:pt idx="31">
                  <c:v>31.9528</c:v>
                </c:pt>
                <c:pt idx="32">
                  <c:v>32.8986</c:v>
                </c:pt>
                <c:pt idx="33">
                  <c:v>31.6842</c:v>
                </c:pt>
                <c:pt idx="34">
                  <c:v>31.7143</c:v>
                </c:pt>
                <c:pt idx="35">
                  <c:v>31.9364</c:v>
                </c:pt>
                <c:pt idx="36">
                  <c:v>32.3955</c:v>
                </c:pt>
                <c:pt idx="37">
                  <c:v>31.6354</c:v>
                </c:pt>
                <c:pt idx="38">
                  <c:v>31.8727</c:v>
                </c:pt>
                <c:pt idx="39">
                  <c:v>31.639</c:v>
                </c:pt>
                <c:pt idx="40">
                  <c:v>31.7164</c:v>
                </c:pt>
                <c:pt idx="41">
                  <c:v>32.207</c:v>
                </c:pt>
                <c:pt idx="42">
                  <c:v>29.6096</c:v>
                </c:pt>
                <c:pt idx="43">
                  <c:v>29.8059</c:v>
                </c:pt>
                <c:pt idx="44">
                  <c:v>30.0138</c:v>
                </c:pt>
                <c:pt idx="45">
                  <c:v>30.0123</c:v>
                </c:pt>
                <c:pt idx="46">
                  <c:v>31.2283</c:v>
                </c:pt>
                <c:pt idx="47">
                  <c:v>32.0782</c:v>
                </c:pt>
                <c:pt idx="48">
                  <c:v>31.6144</c:v>
                </c:pt>
                <c:pt idx="49">
                  <c:v>32.4817</c:v>
                </c:pt>
                <c:pt idx="50">
                  <c:v>31.7846</c:v>
                </c:pt>
                <c:pt idx="51">
                  <c:v>31.5209</c:v>
                </c:pt>
                <c:pt idx="52">
                  <c:v>30.471792984742734</c:v>
                </c:pt>
                <c:pt idx="53">
                  <c:v>29.792956756135364</c:v>
                </c:pt>
                <c:pt idx="54">
                  <c:v>30.52286229268395</c:v>
                </c:pt>
              </c:numCache>
            </c:numRef>
          </c:xVal>
          <c:yVal>
            <c:numRef>
              <c:f>Sheet1!$B$160:$B$214</c:f>
              <c:numCache>
                <c:formatCode>General</c:formatCode>
                <c:ptCount val="55"/>
                <c:pt idx="0">
                  <c:v>0.23284784283874504</c:v>
                </c:pt>
                <c:pt idx="1">
                  <c:v>0.2231751285753355</c:v>
                </c:pt>
                <c:pt idx="2">
                  <c:v>0.20399260892032123</c:v>
                </c:pt>
                <c:pt idx="3">
                  <c:v>0.22616857909474863</c:v>
                </c:pt>
                <c:pt idx="4">
                  <c:v>0.23536614248206078</c:v>
                </c:pt>
                <c:pt idx="5">
                  <c:v>0.19458914682003337</c:v>
                </c:pt>
                <c:pt idx="6">
                  <c:v>0.20706525125241715</c:v>
                </c:pt>
                <c:pt idx="7">
                  <c:v>0.20012126059173785</c:v>
                </c:pt>
                <c:pt idx="8">
                  <c:v>0.2228379977156283</c:v>
                </c:pt>
                <c:pt idx="9">
                  <c:v>0.16567508469790215</c:v>
                </c:pt>
                <c:pt idx="10">
                  <c:v>0.16654619463741405</c:v>
                </c:pt>
                <c:pt idx="11">
                  <c:v>0.17343814496404453</c:v>
                </c:pt>
                <c:pt idx="12">
                  <c:v>0.17396986142062953</c:v>
                </c:pt>
                <c:pt idx="13">
                  <c:v>0.15932842656717383</c:v>
                </c:pt>
                <c:pt idx="14">
                  <c:v>0.23318949894489116</c:v>
                </c:pt>
                <c:pt idx="15">
                  <c:v>0.2431744552125933</c:v>
                </c:pt>
                <c:pt idx="16">
                  <c:v>0.24280112238137397</c:v>
                </c:pt>
                <c:pt idx="17">
                  <c:v>0.23802698738820582</c:v>
                </c:pt>
                <c:pt idx="18">
                  <c:v>0.21246387025417035</c:v>
                </c:pt>
                <c:pt idx="19">
                  <c:v>0.15189797191429966</c:v>
                </c:pt>
                <c:pt idx="20">
                  <c:v>0.16714805241380382</c:v>
                </c:pt>
                <c:pt idx="21">
                  <c:v>0.13842178801889216</c:v>
                </c:pt>
                <c:pt idx="22">
                  <c:v>0.1779158763154568</c:v>
                </c:pt>
                <c:pt idx="23">
                  <c:v>0.1763501410475552</c:v>
                </c:pt>
                <c:pt idx="24">
                  <c:v>0.16243953349400153</c:v>
                </c:pt>
                <c:pt idx="25">
                  <c:v>0.14795874488913108</c:v>
                </c:pt>
                <c:pt idx="26">
                  <c:v>0.18061744843955296</c:v>
                </c:pt>
                <c:pt idx="27">
                  <c:v>0.12437768569538732</c:v>
                </c:pt>
                <c:pt idx="28">
                  <c:v>0.17088364334921657</c:v>
                </c:pt>
                <c:pt idx="29">
                  <c:v>0.161127212026685</c:v>
                </c:pt>
                <c:pt idx="30">
                  <c:v>0.1656728220746827</c:v>
                </c:pt>
                <c:pt idx="31">
                  <c:v>0.17047410854648515</c:v>
                </c:pt>
                <c:pt idx="32">
                  <c:v>0.1490742181363499</c:v>
                </c:pt>
                <c:pt idx="33">
                  <c:v>0.17655151451409168</c:v>
                </c:pt>
                <c:pt idx="34">
                  <c:v>0.1758704649250188</c:v>
                </c:pt>
                <c:pt idx="35">
                  <c:v>0.1708451787544849</c:v>
                </c:pt>
                <c:pt idx="36">
                  <c:v>0.16045747555370993</c:v>
                </c:pt>
                <c:pt idx="37">
                  <c:v>0.17765567464521304</c:v>
                </c:pt>
                <c:pt idx="38">
                  <c:v>0.17228646974531348</c:v>
                </c:pt>
                <c:pt idx="39">
                  <c:v>0.17757422020931068</c:v>
                </c:pt>
                <c:pt idx="40">
                  <c:v>0.1758229498374091</c:v>
                </c:pt>
                <c:pt idx="41">
                  <c:v>0.16472252032248813</c:v>
                </c:pt>
                <c:pt idx="42">
                  <c:v>0.223491895826067</c:v>
                </c:pt>
                <c:pt idx="43">
                  <c:v>0.21905036644616693</c:v>
                </c:pt>
                <c:pt idx="44">
                  <c:v>0.21434637277280355</c:v>
                </c:pt>
                <c:pt idx="45">
                  <c:v>0.2143803121210962</c:v>
                </c:pt>
                <c:pt idx="46">
                  <c:v>0.18686681377184233</c:v>
                </c:pt>
                <c:pt idx="47">
                  <c:v>0.16763677902921825</c:v>
                </c:pt>
                <c:pt idx="48">
                  <c:v>0.17813082552131032</c:v>
                </c:pt>
                <c:pt idx="49">
                  <c:v>0.15850709433849142</c:v>
                </c:pt>
                <c:pt idx="50">
                  <c:v>0.17427984080170256</c:v>
                </c:pt>
                <c:pt idx="51">
                  <c:v>0.1802463782315531</c:v>
                </c:pt>
                <c:pt idx="52">
                  <c:v>0.20398371715628294</c:v>
                </c:pt>
                <c:pt idx="53">
                  <c:v>0.21934322328720612</c:v>
                </c:pt>
                <c:pt idx="54">
                  <c:v>0.202828211136761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3.0"/>
          <c:min val="23.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494688922610015"/>
          <c:min val="0.0646266829865361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44189813869288735</c:v>
                </c:pt>
                <c:pt idx="1">
                  <c:v>0.4518425668844757</c:v>
                </c:pt>
                <c:pt idx="2">
                  <c:v>0.4497797497220314</c:v>
                </c:pt>
                <c:pt idx="3">
                  <c:v>0.44995593405309176</c:v>
                </c:pt>
                <c:pt idx="4">
                  <c:v>0.5189737082955554</c:v>
                </c:pt>
                <c:pt idx="5">
                  <c:v>0.5375841622202234</c:v>
                </c:pt>
                <c:pt idx="6">
                  <c:v>0.5169706356261807</c:v>
                </c:pt>
                <c:pt idx="7">
                  <c:v>0.500791731194209</c:v>
                </c:pt>
                <c:pt idx="8">
                  <c:v>0.5626217390580518</c:v>
                </c:pt>
                <c:pt idx="9">
                  <c:v>0.493292346415106</c:v>
                </c:pt>
                <c:pt idx="10">
                  <c:v>0.4800801732200414</c:v>
                </c:pt>
                <c:pt idx="11">
                  <c:v>0.4844927438472064</c:v>
                </c:pt>
                <c:pt idx="12">
                  <c:v>0.49698315652537267</c:v>
                </c:pt>
                <c:pt idx="13">
                  <c:v>0.47444816449409016</c:v>
                </c:pt>
                <c:pt idx="14">
                  <c:v>0.4841532179661676</c:v>
                </c:pt>
                <c:pt idx="15">
                  <c:v>0.4682810379241517</c:v>
                </c:pt>
                <c:pt idx="16">
                  <c:v>0.47268410085249407</c:v>
                </c:pt>
                <c:pt idx="17">
                  <c:v>0.42298717250381185</c:v>
                </c:pt>
                <c:pt idx="18">
                  <c:v>0.4676737905166482</c:v>
                </c:pt>
                <c:pt idx="19">
                  <c:v>0.4963793366334816</c:v>
                </c:pt>
                <c:pt idx="20">
                  <c:v>0.4759031335401448</c:v>
                </c:pt>
                <c:pt idx="21">
                  <c:v>0.4781985998720193</c:v>
                </c:pt>
                <c:pt idx="22">
                  <c:v>0.50179166973688</c:v>
                </c:pt>
                <c:pt idx="23">
                  <c:v>0.5119071338361522</c:v>
                </c:pt>
                <c:pt idx="24">
                  <c:v>0.42023428285487113</c:v>
                </c:pt>
                <c:pt idx="25">
                  <c:v>0.5064726711653518</c:v>
                </c:pt>
                <c:pt idx="26">
                  <c:v>0.4876114304087456</c:v>
                </c:pt>
                <c:pt idx="27">
                  <c:v>0.48360188837543144</c:v>
                </c:pt>
                <c:pt idx="28">
                  <c:v>0.47239876761624733</c:v>
                </c:pt>
                <c:pt idx="29">
                  <c:v>0.5004027434983963</c:v>
                </c:pt>
                <c:pt idx="30">
                  <c:v>0.5124715449231034</c:v>
                </c:pt>
                <c:pt idx="31">
                  <c:v>0.4560572630100585</c:v>
                </c:pt>
                <c:pt idx="32">
                  <c:v>0.4855155965807573</c:v>
                </c:pt>
                <c:pt idx="33">
                  <c:v>0.48650135022892016</c:v>
                </c:pt>
                <c:pt idx="34">
                  <c:v>0.48094709611741815</c:v>
                </c:pt>
                <c:pt idx="35">
                  <c:v>0.5076035812676566</c:v>
                </c:pt>
                <c:pt idx="36">
                  <c:v>0.4884782766634705</c:v>
                </c:pt>
                <c:pt idx="37">
                  <c:v>0.48098316049654927</c:v>
                </c:pt>
                <c:pt idx="38">
                  <c:v>0.4985991334582805</c:v>
                </c:pt>
                <c:pt idx="39">
                  <c:v>0.48259534220524736</c:v>
                </c:pt>
                <c:pt idx="40">
                  <c:v>0.44388114967391157</c:v>
                </c:pt>
                <c:pt idx="41">
                  <c:v>0.4164496622682691</c:v>
                </c:pt>
                <c:pt idx="42">
                  <c:v>0.46113174603174606</c:v>
                </c:pt>
                <c:pt idx="43">
                  <c:v>0.42550157240372466</c:v>
                </c:pt>
                <c:pt idx="44">
                  <c:v>0.42951600230970927</c:v>
                </c:pt>
                <c:pt idx="45">
                  <c:v>0.4280529829165446</c:v>
                </c:pt>
                <c:pt idx="46">
                  <c:v>0.4428087833050768</c:v>
                </c:pt>
                <c:pt idx="47">
                  <c:v>0.41859556651495367</c:v>
                </c:pt>
                <c:pt idx="48">
                  <c:v>0.4383194198000731</c:v>
                </c:pt>
                <c:pt idx="49">
                  <c:v>0.436609812130767</c:v>
                </c:pt>
                <c:pt idx="50">
                  <c:v>0.44849281659674156</c:v>
                </c:pt>
                <c:pt idx="51">
                  <c:v>0.43676926747792894</c:v>
                </c:pt>
                <c:pt idx="52">
                  <c:v>0.4227030005441381</c:v>
                </c:pt>
                <c:pt idx="53">
                  <c:v>0.4321928210798565</c:v>
                </c:pt>
                <c:pt idx="54">
                  <c:v>0.45769420206865896</c:v>
                </c:pt>
                <c:pt idx="55">
                  <c:v>0.44417433156939184</c:v>
                </c:pt>
                <c:pt idx="56">
                  <c:v>0.4291171079197103</c:v>
                </c:pt>
                <c:pt idx="57">
                  <c:v>0.4373706199710108</c:v>
                </c:pt>
                <c:pt idx="58">
                  <c:v>0.43816578556783364</c:v>
                </c:pt>
                <c:pt idx="59">
                  <c:v>0.44836565715249094</c:v>
                </c:pt>
                <c:pt idx="60">
                  <c:v>0.42785238057886893</c:v>
                </c:pt>
                <c:pt idx="61">
                  <c:v>0.42641348876971363</c:v>
                </c:pt>
                <c:pt idx="62">
                  <c:v>0.41498682170542633</c:v>
                </c:pt>
                <c:pt idx="63">
                  <c:v>0.4242888071870477</c:v>
                </c:pt>
                <c:pt idx="64">
                  <c:v>0.4164791805018526</c:v>
                </c:pt>
                <c:pt idx="65">
                  <c:v>0.4353944460347493</c:v>
                </c:pt>
                <c:pt idx="66">
                  <c:v>0.4403947168805846</c:v>
                </c:pt>
                <c:pt idx="67">
                  <c:v>0.3413603189489813</c:v>
                </c:pt>
                <c:pt idx="68">
                  <c:v>0.3433943977168335</c:v>
                </c:pt>
                <c:pt idx="69">
                  <c:v>0.33681071542806773</c:v>
                </c:pt>
                <c:pt idx="70">
                  <c:v>0.3393237622933279</c:v>
                </c:pt>
                <c:pt idx="71">
                  <c:v>0.39709350406311517</c:v>
                </c:pt>
                <c:pt idx="72">
                  <c:v>0.4396485659257556</c:v>
                </c:pt>
                <c:pt idx="73">
                  <c:v>0.4272554136322302</c:v>
                </c:pt>
                <c:pt idx="74">
                  <c:v>0.4089620319374789</c:v>
                </c:pt>
                <c:pt idx="75">
                  <c:v>0.3966607949532771</c:v>
                </c:pt>
                <c:pt idx="76">
                  <c:v>0.42279537466188877</c:v>
                </c:pt>
                <c:pt idx="77">
                  <c:v>0.4247141249110896</c:v>
                </c:pt>
              </c:numCache>
            </c:numRef>
          </c:xVal>
          <c:yVal>
            <c:numRef>
              <c:f>Sheet1!$B$2:$B$79</c:f>
              <c:numCache>
                <c:formatCode>General</c:formatCode>
                <c:ptCount val="78"/>
                <c:pt idx="0">
                  <c:v>0.12679628064243448</c:v>
                </c:pt>
                <c:pt idx="1">
                  <c:v>0.1159678858162355</c:v>
                </c:pt>
                <c:pt idx="2">
                  <c:v>0.12362404741744284</c:v>
                </c:pt>
                <c:pt idx="3">
                  <c:v>0.11606313834726091</c:v>
                </c:pt>
                <c:pt idx="4">
                  <c:v>0.08379888268156424</c:v>
                </c:pt>
                <c:pt idx="5">
                  <c:v>0.06562847608453838</c:v>
                </c:pt>
                <c:pt idx="6">
                  <c:v>0.10665137614678899</c:v>
                </c:pt>
                <c:pt idx="7">
                  <c:v>0.05767012687427912</c:v>
                </c:pt>
                <c:pt idx="8">
                  <c:v>0.0981404958677686</c:v>
                </c:pt>
                <c:pt idx="9">
                  <c:v>0.13554502369668248</c:v>
                </c:pt>
                <c:pt idx="10">
                  <c:v>0.20219435736677116</c:v>
                </c:pt>
                <c:pt idx="11">
                  <c:v>0.1708542713567839</c:v>
                </c:pt>
                <c:pt idx="12">
                  <c:v>0.09586776859504133</c:v>
                </c:pt>
                <c:pt idx="13">
                  <c:v>0.09461235216819974</c:v>
                </c:pt>
                <c:pt idx="14">
                  <c:v>0.0945945945945946</c:v>
                </c:pt>
                <c:pt idx="15">
                  <c:v>0.12365591397849462</c:v>
                </c:pt>
                <c:pt idx="16">
                  <c:v>0.11380880121396054</c:v>
                </c:pt>
                <c:pt idx="17">
                  <c:v>0.1079734219269103</c:v>
                </c:pt>
                <c:pt idx="18">
                  <c:v>0.11544715447154472</c:v>
                </c:pt>
                <c:pt idx="19">
                  <c:v>0.07961783439490445</c:v>
                </c:pt>
                <c:pt idx="20">
                  <c:v>0.06711409395973154</c:v>
                </c:pt>
                <c:pt idx="21">
                  <c:v>0.08152173913043478</c:v>
                </c:pt>
                <c:pt idx="22">
                  <c:v>0.09880239520958084</c:v>
                </c:pt>
                <c:pt idx="23">
                  <c:v>0.08853575482406356</c:v>
                </c:pt>
                <c:pt idx="24">
                  <c:v>0.11285714285714285</c:v>
                </c:pt>
                <c:pt idx="25">
                  <c:v>0.07183098591549296</c:v>
                </c:pt>
                <c:pt idx="26">
                  <c:v>0.08157894736842106</c:v>
                </c:pt>
                <c:pt idx="27">
                  <c:v>0.063257065948856</c:v>
                </c:pt>
                <c:pt idx="28">
                  <c:v>0.06512890094979647</c:v>
                </c:pt>
                <c:pt idx="29">
                  <c:v>0.07085561497326204</c:v>
                </c:pt>
                <c:pt idx="30">
                  <c:v>0.07975460122699386</c:v>
                </c:pt>
                <c:pt idx="31">
                  <c:v>0.07621247113163972</c:v>
                </c:pt>
                <c:pt idx="32">
                  <c:v>0.08074534161490683</c:v>
                </c:pt>
                <c:pt idx="33">
                  <c:v>0.09006928406466513</c:v>
                </c:pt>
                <c:pt idx="34">
                  <c:v>0.09188361408882083</c:v>
                </c:pt>
                <c:pt idx="35">
                  <c:v>0.1087378640776699</c:v>
                </c:pt>
                <c:pt idx="36">
                  <c:v>0.06643356643356643</c:v>
                </c:pt>
                <c:pt idx="37">
                  <c:v>0.08079268292682927</c:v>
                </c:pt>
                <c:pt idx="38">
                  <c:v>0.1001788908765653</c:v>
                </c:pt>
                <c:pt idx="39">
                  <c:v>0.0919175911251981</c:v>
                </c:pt>
                <c:pt idx="40">
                  <c:v>0.17025089605734767</c:v>
                </c:pt>
                <c:pt idx="41">
                  <c:v>0.12698412698412698</c:v>
                </c:pt>
                <c:pt idx="42">
                  <c:v>0.1729490022172949</c:v>
                </c:pt>
                <c:pt idx="43">
                  <c:v>0.10353227771010962</c:v>
                </c:pt>
                <c:pt idx="44">
                  <c:v>0.09737417943107221</c:v>
                </c:pt>
                <c:pt idx="45">
                  <c:v>0.10837438423645321</c:v>
                </c:pt>
                <c:pt idx="46">
                  <c:v>0.09395348837209302</c:v>
                </c:pt>
                <c:pt idx="47">
                  <c:v>0.12075471698113208</c:v>
                </c:pt>
                <c:pt idx="48">
                  <c:v>0.12217194570135746</c:v>
                </c:pt>
                <c:pt idx="49">
                  <c:v>0.10771992818671454</c:v>
                </c:pt>
                <c:pt idx="50">
                  <c:v>0.10164333536214243</c:v>
                </c:pt>
                <c:pt idx="51">
                  <c:v>0.10879067508499271</c:v>
                </c:pt>
                <c:pt idx="52">
                  <c:v>0.13000520020800832</c:v>
                </c:pt>
                <c:pt idx="53">
                  <c:v>0.08483290488431877</c:v>
                </c:pt>
                <c:pt idx="54">
                  <c:v>0.08385481852315395</c:v>
                </c:pt>
                <c:pt idx="55">
                  <c:v>0.0880597014925373</c:v>
                </c:pt>
                <c:pt idx="56">
                  <c:v>0.12460063897763578</c:v>
                </c:pt>
                <c:pt idx="57">
                  <c:v>0.1490566037735849</c:v>
                </c:pt>
                <c:pt idx="58">
                  <c:v>0.141287284144427</c:v>
                </c:pt>
                <c:pt idx="59">
                  <c:v>0.13934426229508196</c:v>
                </c:pt>
                <c:pt idx="60">
                  <c:v>0.14988290398126464</c:v>
                </c:pt>
                <c:pt idx="61">
                  <c:v>0.1655328798185941</c:v>
                </c:pt>
                <c:pt idx="62">
                  <c:v>0.176056338028169</c:v>
                </c:pt>
                <c:pt idx="63">
                  <c:v>0.14678899082568808</c:v>
                </c:pt>
                <c:pt idx="64">
                  <c:v>0.14766355140186915</c:v>
                </c:pt>
                <c:pt idx="65">
                  <c:v>0.12173913043478261</c:v>
                </c:pt>
                <c:pt idx="66">
                  <c:v>0.10714285714285714</c:v>
                </c:pt>
                <c:pt idx="67">
                  <c:v>0.44359756097560976</c:v>
                </c:pt>
                <c:pt idx="68">
                  <c:v>0.4379001280409731</c:v>
                </c:pt>
                <c:pt idx="69">
                  <c:v>0.5090673575129534</c:v>
                </c:pt>
                <c:pt idx="70">
                  <c:v>0.48880597014925375</c:v>
                </c:pt>
                <c:pt idx="71">
                  <c:v>0.23450134770889489</c:v>
                </c:pt>
                <c:pt idx="72">
                  <c:v>0.12317666126418152</c:v>
                </c:pt>
                <c:pt idx="73">
                  <c:v>0.11653543307086614</c:v>
                </c:pt>
                <c:pt idx="74">
                  <c:v>0.20202020202020202</c:v>
                </c:pt>
                <c:pt idx="75">
                  <c:v>0.2365988909426987</c:v>
                </c:pt>
                <c:pt idx="76">
                  <c:v>0.18356643356643357</c:v>
                </c:pt>
                <c:pt idx="77">
                  <c:v>0.12956204379562045</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281437792890638</c:v>
                </c:pt>
                <c:pt idx="1">
                  <c:v>0.42010608238734937</c:v>
                </c:pt>
                <c:pt idx="2">
                  <c:v>0.45648157017362256</c:v>
                </c:pt>
                <c:pt idx="3">
                  <c:v>0.40874787594602985</c:v>
                </c:pt>
                <c:pt idx="4">
                  <c:v>0.4230602573714003</c:v>
                </c:pt>
                <c:pt idx="5">
                  <c:v>0.4165376277485289</c:v>
                </c:pt>
                <c:pt idx="6">
                  <c:v>0.3233744846215819</c:v>
                </c:pt>
                <c:pt idx="7">
                  <c:v>0.4410542992853569</c:v>
                </c:pt>
                <c:pt idx="8">
                  <c:v>0.43244674664040506</c:v>
                </c:pt>
                <c:pt idx="9">
                  <c:v>0.4282239917920976</c:v>
                </c:pt>
                <c:pt idx="10">
                  <c:v>0.42459369945313097</c:v>
                </c:pt>
                <c:pt idx="11">
                  <c:v>0.4171859027594131</c:v>
                </c:pt>
                <c:pt idx="12">
                  <c:v>0.4073863112967114</c:v>
                </c:pt>
                <c:pt idx="13">
                  <c:v>0.41822181722105695</c:v>
                </c:pt>
                <c:pt idx="14">
                  <c:v>0.4180952168704049</c:v>
                </c:pt>
                <c:pt idx="15">
                  <c:v>0.4082335301913411</c:v>
                </c:pt>
                <c:pt idx="16">
                  <c:v>0.4235209043642322</c:v>
                </c:pt>
                <c:pt idx="17">
                  <c:v>0.3629375226301929</c:v>
                </c:pt>
                <c:pt idx="18">
                  <c:v>0.41994755310806825</c:v>
                </c:pt>
                <c:pt idx="19">
                  <c:v>0.4133510494896977</c:v>
                </c:pt>
                <c:pt idx="20">
                  <c:v>0.4178701760631435</c:v>
                </c:pt>
                <c:pt idx="21">
                  <c:v>0.4310101781740462</c:v>
                </c:pt>
                <c:pt idx="22">
                  <c:v>0.41179305924869514</c:v>
                </c:pt>
                <c:pt idx="23">
                  <c:v>0.40836893408230907</c:v>
                </c:pt>
                <c:pt idx="24">
                  <c:v>0.4183034901575513</c:v>
                </c:pt>
                <c:pt idx="25">
                  <c:v>0.4220768049202549</c:v>
                </c:pt>
                <c:pt idx="26">
                  <c:v>0.4363120512171866</c:v>
                </c:pt>
                <c:pt idx="27">
                  <c:v>0.43645154525175883</c:v>
                </c:pt>
                <c:pt idx="28">
                  <c:v>0.4247918709863836</c:v>
                </c:pt>
                <c:pt idx="29">
                  <c:v>0.41729809489964614</c:v>
                </c:pt>
                <c:pt idx="30">
                  <c:v>0.4332743794316047</c:v>
                </c:pt>
                <c:pt idx="31">
                  <c:v>0.42120388066369646</c:v>
                </c:pt>
                <c:pt idx="32">
                  <c:v>0.4215117804076468</c:v>
                </c:pt>
                <c:pt idx="33">
                  <c:v>0.42484573653041785</c:v>
                </c:pt>
                <c:pt idx="34">
                  <c:v>0.4232136899324989</c:v>
                </c:pt>
                <c:pt idx="35">
                  <c:v>0.4258311617794224</c:v>
                </c:pt>
                <c:pt idx="36">
                  <c:v>0.4352306754888012</c:v>
                </c:pt>
                <c:pt idx="37">
                  <c:v>0.4215276295637857</c:v>
                </c:pt>
                <c:pt idx="38">
                  <c:v>0.4278346097689599</c:v>
                </c:pt>
                <c:pt idx="39">
                  <c:v>0.4205085468580662</c:v>
                </c:pt>
                <c:pt idx="40">
                  <c:v>0.4244503805267442</c:v>
                </c:pt>
                <c:pt idx="41">
                  <c:v>0.44181004210038965</c:v>
                </c:pt>
                <c:pt idx="42">
                  <c:v>0.33203090096322985</c:v>
                </c:pt>
                <c:pt idx="43">
                  <c:v>0.39938741141586004</c:v>
                </c:pt>
                <c:pt idx="44">
                  <c:v>0.38408348030662703</c:v>
                </c:pt>
                <c:pt idx="45">
                  <c:v>0.3805327872010257</c:v>
                </c:pt>
                <c:pt idx="46">
                  <c:v>0.4283485912674202</c:v>
                </c:pt>
                <c:pt idx="47">
                  <c:v>0.41479688011294763</c:v>
                </c:pt>
                <c:pt idx="48">
                  <c:v>0.42817441415553287</c:v>
                </c:pt>
                <c:pt idx="49">
                  <c:v>0.41278058519419086</c:v>
                </c:pt>
                <c:pt idx="50">
                  <c:v>0.4222028820356451</c:v>
                </c:pt>
                <c:pt idx="51">
                  <c:v>0.4258079214566783</c:v>
                </c:pt>
              </c:numCache>
            </c:numRef>
          </c:xVal>
          <c:yVal>
            <c:numRef>
              <c:f>Sheet1!$B$82:$B$133</c:f>
              <c:numCache>
                <c:formatCode>General</c:formatCode>
                <c:ptCount val="52"/>
                <c:pt idx="0">
                  <c:v>0.1673728813559322</c:v>
                </c:pt>
                <c:pt idx="1">
                  <c:v>0.11350293542074363</c:v>
                </c:pt>
                <c:pt idx="2">
                  <c:v>0.08847736625514403</c:v>
                </c:pt>
                <c:pt idx="3">
                  <c:v>0.14596949891067537</c:v>
                </c:pt>
                <c:pt idx="4">
                  <c:v>0.11079545454545454</c:v>
                </c:pt>
                <c:pt idx="5">
                  <c:v>0.16129032258064516</c:v>
                </c:pt>
                <c:pt idx="6">
                  <c:v>0.11971830985915492</c:v>
                </c:pt>
                <c:pt idx="7">
                  <c:v>0.12658227848101267</c:v>
                </c:pt>
                <c:pt idx="8">
                  <c:v>0.1275626423690205</c:v>
                </c:pt>
                <c:pt idx="9">
                  <c:v>0.128</c:v>
                </c:pt>
                <c:pt idx="10">
                  <c:v>0.17167381974248927</c:v>
                </c:pt>
                <c:pt idx="11">
                  <c:v>0.125</c:v>
                </c:pt>
                <c:pt idx="12">
                  <c:v>0.16179775280898875</c:v>
                </c:pt>
                <c:pt idx="13">
                  <c:v>0.1705685618729097</c:v>
                </c:pt>
                <c:pt idx="14">
                  <c:v>0.16952789699570817</c:v>
                </c:pt>
                <c:pt idx="15">
                  <c:v>0.17204301075268819</c:v>
                </c:pt>
                <c:pt idx="16">
                  <c:v>0.16775599128540306</c:v>
                </c:pt>
                <c:pt idx="17">
                  <c:v>0.14352941176470588</c:v>
                </c:pt>
                <c:pt idx="18">
                  <c:v>0.14788732394366197</c:v>
                </c:pt>
                <c:pt idx="19">
                  <c:v>0.19291338582677164</c:v>
                </c:pt>
                <c:pt idx="20">
                  <c:v>0.15358361774744028</c:v>
                </c:pt>
                <c:pt idx="21">
                  <c:v>0.12168141592920353</c:v>
                </c:pt>
                <c:pt idx="22">
                  <c:v>0.11225658648339061</c:v>
                </c:pt>
                <c:pt idx="23">
                  <c:v>0.07979870596693027</c:v>
                </c:pt>
                <c:pt idx="24">
                  <c:v>0.1421759861291721</c:v>
                </c:pt>
                <c:pt idx="25">
                  <c:v>0.11344327836081959</c:v>
                </c:pt>
                <c:pt idx="26">
                  <c:v>0.10818713450292397</c:v>
                </c:pt>
                <c:pt idx="27">
                  <c:v>0.1346153846153846</c:v>
                </c:pt>
                <c:pt idx="28">
                  <c:v>0.10096153846153846</c:v>
                </c:pt>
                <c:pt idx="29">
                  <c:v>0.11580882352941177</c:v>
                </c:pt>
                <c:pt idx="30">
                  <c:v>0.09419152276295134</c:v>
                </c:pt>
                <c:pt idx="31">
                  <c:v>0.16350710900473933</c:v>
                </c:pt>
                <c:pt idx="32">
                  <c:v>0.2100371747211896</c:v>
                </c:pt>
                <c:pt idx="33">
                  <c:v>0.17027863777089783</c:v>
                </c:pt>
                <c:pt idx="34">
                  <c:v>0.17402597402597403</c:v>
                </c:pt>
                <c:pt idx="35">
                  <c:v>0.18546365914786966</c:v>
                </c:pt>
                <c:pt idx="36">
                  <c:v>0.12531969309462915</c:v>
                </c:pt>
                <c:pt idx="37">
                  <c:v>0.1346153846153846</c:v>
                </c:pt>
                <c:pt idx="38">
                  <c:v>0.1342925659472422</c:v>
                </c:pt>
                <c:pt idx="39">
                  <c:v>0.1564625850340136</c:v>
                </c:pt>
                <c:pt idx="40">
                  <c:v>0.1744186046511628</c:v>
                </c:pt>
                <c:pt idx="41">
                  <c:v>0.15766738660907129</c:v>
                </c:pt>
                <c:pt idx="42">
                  <c:v>0.20518867924528303</c:v>
                </c:pt>
                <c:pt idx="43">
                  <c:v>0.27111984282907664</c:v>
                </c:pt>
                <c:pt idx="44">
                  <c:v>0.28482328482328484</c:v>
                </c:pt>
                <c:pt idx="45">
                  <c:v>0.24807692307692308</c:v>
                </c:pt>
                <c:pt idx="46">
                  <c:v>0.10304449648711944</c:v>
                </c:pt>
                <c:pt idx="47">
                  <c:v>0.12705882352941175</c:v>
                </c:pt>
                <c:pt idx="48">
                  <c:v>0.11785714285714285</c:v>
                </c:pt>
                <c:pt idx="49">
                  <c:v>0.150278293135436</c:v>
                </c:pt>
                <c:pt idx="50">
                  <c:v>0.14065510597302505</c:v>
                </c:pt>
                <c:pt idx="51">
                  <c:v>0.11594202898550725</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2527283908379789</c:v>
                </c:pt>
              </c:numCache>
            </c:numRef>
          </c:xVal>
          <c:yVal>
            <c:numRef>
              <c:f>Sheet1!$B$136:$B$137</c:f>
              <c:numCache>
                <c:formatCode>General</c:formatCode>
                <c:ptCount val="2"/>
                <c:pt idx="0">
                  <c:v>0.2564780012788713</c:v>
                </c:pt>
                <c:pt idx="1">
                  <c:v>0.2564780012788713</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2527283908379789</c:v>
                </c:pt>
                <c:pt idx="1">
                  <c:v>0.2527283908379789</c:v>
                </c:pt>
              </c:numCache>
            </c:numRef>
          </c:xVal>
          <c:yVal>
            <c:numRef>
              <c:f>Sheet1!$B$140:$B$141</c:f>
              <c:numCache>
                <c:formatCode>General</c:formatCode>
                <c:ptCount val="2"/>
                <c:pt idx="0">
                  <c:v>0.25647800127887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37940888714351706</c:v>
                </c:pt>
              </c:numCache>
            </c:numRef>
          </c:xVal>
          <c:yVal>
            <c:numRef>
              <c:f>Sheet1!$B$144:$B$145</c:f>
              <c:numCache>
                <c:formatCode>General</c:formatCode>
                <c:ptCount val="2"/>
                <c:pt idx="0">
                  <c:v>0.1732763997874198</c:v>
                </c:pt>
                <c:pt idx="1">
                  <c:v>0.1732763997874198</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37940888714351706</c:v>
                </c:pt>
                <c:pt idx="1">
                  <c:v>0.37940888714351706</c:v>
                </c:pt>
              </c:numCache>
            </c:numRef>
          </c:xVal>
          <c:yVal>
            <c:numRef>
              <c:f>Sheet1!$B$148:$B$149</c:f>
              <c:numCache>
                <c:formatCode>General</c:formatCode>
                <c:ptCount val="2"/>
                <c:pt idx="0">
                  <c:v>0.17327639978741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37940888714351695</c:v>
                </c:pt>
              </c:numCache>
            </c:numRef>
          </c:xVal>
          <c:yVal>
            <c:numRef>
              <c:f>Sheet1!$B$152:$B$153</c:f>
              <c:numCache>
                <c:formatCode>General</c:formatCode>
                <c:ptCount val="2"/>
                <c:pt idx="0">
                  <c:v>0.17327639978741985</c:v>
                </c:pt>
                <c:pt idx="1">
                  <c:v>0.17327639978741985</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37940888714351695</c:v>
                </c:pt>
                <c:pt idx="1">
                  <c:v>0.37940888714351695</c:v>
                </c:pt>
              </c:numCache>
            </c:numRef>
          </c:xVal>
          <c:yVal>
            <c:numRef>
              <c:f>Sheet1!$B$156:$B$157</c:f>
              <c:numCache>
                <c:formatCode>General</c:formatCode>
                <c:ptCount val="2"/>
                <c:pt idx="0">
                  <c:v>0.173276399787419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281437792890638</c:v>
                </c:pt>
                <c:pt idx="1">
                  <c:v>0.42010608238734937</c:v>
                </c:pt>
                <c:pt idx="2">
                  <c:v>0.45648157017362256</c:v>
                </c:pt>
                <c:pt idx="3">
                  <c:v>0.40874787594602985</c:v>
                </c:pt>
                <c:pt idx="4">
                  <c:v>0.4230602573714003</c:v>
                </c:pt>
                <c:pt idx="5">
                  <c:v>0.4165376277485289</c:v>
                </c:pt>
                <c:pt idx="6">
                  <c:v>0.3233744846215819</c:v>
                </c:pt>
                <c:pt idx="7">
                  <c:v>0.4410542992853569</c:v>
                </c:pt>
                <c:pt idx="8">
                  <c:v>0.43244674664040506</c:v>
                </c:pt>
                <c:pt idx="9">
                  <c:v>0.4282239917920976</c:v>
                </c:pt>
                <c:pt idx="10">
                  <c:v>0.42459369945313097</c:v>
                </c:pt>
                <c:pt idx="11">
                  <c:v>0.4171859027594131</c:v>
                </c:pt>
                <c:pt idx="12">
                  <c:v>0.4073863112967114</c:v>
                </c:pt>
                <c:pt idx="13">
                  <c:v>0.41822181722105695</c:v>
                </c:pt>
                <c:pt idx="14">
                  <c:v>0.4180952168704049</c:v>
                </c:pt>
                <c:pt idx="15">
                  <c:v>0.4082335301913411</c:v>
                </c:pt>
                <c:pt idx="16">
                  <c:v>0.4235209043642322</c:v>
                </c:pt>
                <c:pt idx="17">
                  <c:v>0.3629375226301929</c:v>
                </c:pt>
                <c:pt idx="18">
                  <c:v>0.41994755310806825</c:v>
                </c:pt>
                <c:pt idx="19">
                  <c:v>0.4133510494896977</c:v>
                </c:pt>
                <c:pt idx="20">
                  <c:v>0.4178701760631435</c:v>
                </c:pt>
                <c:pt idx="21">
                  <c:v>0.4310101781740462</c:v>
                </c:pt>
                <c:pt idx="22">
                  <c:v>0.41179305924869514</c:v>
                </c:pt>
                <c:pt idx="23">
                  <c:v>0.40836893408230907</c:v>
                </c:pt>
                <c:pt idx="24">
                  <c:v>0.4183034901575513</c:v>
                </c:pt>
                <c:pt idx="25">
                  <c:v>0.4220768049202549</c:v>
                </c:pt>
                <c:pt idx="26">
                  <c:v>0.4363120512171866</c:v>
                </c:pt>
                <c:pt idx="27">
                  <c:v>0.43645154525175883</c:v>
                </c:pt>
                <c:pt idx="28">
                  <c:v>0.4247918709863836</c:v>
                </c:pt>
                <c:pt idx="29">
                  <c:v>0.41729809489964614</c:v>
                </c:pt>
                <c:pt idx="30">
                  <c:v>0.4332743794316047</c:v>
                </c:pt>
                <c:pt idx="31">
                  <c:v>0.42120388066369646</c:v>
                </c:pt>
                <c:pt idx="32">
                  <c:v>0.4215117804076468</c:v>
                </c:pt>
                <c:pt idx="33">
                  <c:v>0.42484573653041785</c:v>
                </c:pt>
                <c:pt idx="34">
                  <c:v>0.4232136899324989</c:v>
                </c:pt>
                <c:pt idx="35">
                  <c:v>0.4258311617794224</c:v>
                </c:pt>
                <c:pt idx="36">
                  <c:v>0.4352306754888012</c:v>
                </c:pt>
                <c:pt idx="37">
                  <c:v>0.4215276295637857</c:v>
                </c:pt>
                <c:pt idx="38">
                  <c:v>0.4278346097689599</c:v>
                </c:pt>
                <c:pt idx="39">
                  <c:v>0.4205085468580662</c:v>
                </c:pt>
                <c:pt idx="40">
                  <c:v>0.4244503805267442</c:v>
                </c:pt>
                <c:pt idx="41">
                  <c:v>0.44181004210038965</c:v>
                </c:pt>
                <c:pt idx="42">
                  <c:v>0.33203090096322985</c:v>
                </c:pt>
                <c:pt idx="43">
                  <c:v>0.39938741141586004</c:v>
                </c:pt>
                <c:pt idx="44">
                  <c:v>0.38408348030662703</c:v>
                </c:pt>
                <c:pt idx="45">
                  <c:v>0.3805327872010257</c:v>
                </c:pt>
                <c:pt idx="46">
                  <c:v>0.4283485912674202</c:v>
                </c:pt>
                <c:pt idx="47">
                  <c:v>0.41479688011294763</c:v>
                </c:pt>
                <c:pt idx="48">
                  <c:v>0.42817441415553287</c:v>
                </c:pt>
                <c:pt idx="49">
                  <c:v>0.41278058519419086</c:v>
                </c:pt>
                <c:pt idx="50">
                  <c:v>0.4222028820356451</c:v>
                </c:pt>
                <c:pt idx="51">
                  <c:v>0.4258079214566783</c:v>
                </c:pt>
                <c:pt idx="52">
                  <c:v>0.37940888714351706</c:v>
                </c:pt>
                <c:pt idx="53">
                  <c:v>0.2527283908379789</c:v>
                </c:pt>
                <c:pt idx="54">
                  <c:v>0.37940888714351695</c:v>
                </c:pt>
              </c:numCache>
            </c:numRef>
          </c:xVal>
          <c:yVal>
            <c:numRef>
              <c:f>Sheet1!$B$160:$B$214</c:f>
              <c:numCache>
                <c:formatCode>General</c:formatCode>
                <c:ptCount val="55"/>
                <c:pt idx="0">
                  <c:v>0.14126814916261243</c:v>
                </c:pt>
                <c:pt idx="1">
                  <c:v>0.14654717216953667</c:v>
                </c:pt>
                <c:pt idx="2">
                  <c:v>0.1226563687142746</c:v>
                </c:pt>
                <c:pt idx="3">
                  <c:v>0.15400704952673477</c:v>
                </c:pt>
                <c:pt idx="4">
                  <c:v>0.1446069201423722</c:v>
                </c:pt>
                <c:pt idx="5">
                  <c:v>0.14889087265586387</c:v>
                </c:pt>
                <c:pt idx="6">
                  <c:v>0.21007884502884894</c:v>
                </c:pt>
                <c:pt idx="7">
                  <c:v>0.13278873858951035</c:v>
                </c:pt>
                <c:pt idx="8">
                  <c:v>0.1384420331839259</c:v>
                </c:pt>
                <c:pt idx="9">
                  <c:v>0.14121546695101173</c:v>
                </c:pt>
                <c:pt idx="10">
                  <c:v>0.14359978139003687</c:v>
                </c:pt>
                <c:pt idx="11">
                  <c:v>0.1484650966233611</c:v>
                </c:pt>
                <c:pt idx="12">
                  <c:v>0.15490130209647696</c:v>
                </c:pt>
                <c:pt idx="13">
                  <c:v>0.14778472557390576</c:v>
                </c:pt>
                <c:pt idx="14">
                  <c:v>0.14786787453709127</c:v>
                </c:pt>
                <c:pt idx="15">
                  <c:v>0.15434486309518824</c:v>
                </c:pt>
                <c:pt idx="16">
                  <c:v>0.14430437500998344</c:v>
                </c:pt>
                <c:pt idx="17">
                  <c:v>0.18409451264792426</c:v>
                </c:pt>
                <c:pt idx="18">
                  <c:v>0.14665129151153594</c:v>
                </c:pt>
                <c:pt idx="19">
                  <c:v>0.15098376321237966</c:v>
                </c:pt>
                <c:pt idx="20">
                  <c:v>0.14801567752264255</c:v>
                </c:pt>
                <c:pt idx="21">
                  <c:v>0.1393855469886468</c:v>
                </c:pt>
                <c:pt idx="22">
                  <c:v>0.1520070247793917</c:v>
                </c:pt>
                <c:pt idx="23">
                  <c:v>0.15425593211603</c:v>
                </c:pt>
                <c:pt idx="24">
                  <c:v>0.14773108417437691</c:v>
                </c:pt>
                <c:pt idx="25">
                  <c:v>0.1452528350330799</c:v>
                </c:pt>
                <c:pt idx="26">
                  <c:v>0.13590336669287584</c:v>
                </c:pt>
                <c:pt idx="27">
                  <c:v>0.13581174937676643</c:v>
                </c:pt>
                <c:pt idx="28">
                  <c:v>0.14346962568795574</c:v>
                </c:pt>
                <c:pt idx="29">
                  <c:v>0.14839141072841772</c:v>
                </c:pt>
                <c:pt idx="30">
                  <c:v>0.13789845800319273</c:v>
                </c:pt>
                <c:pt idx="31">
                  <c:v>0.14582615688012435</c:v>
                </c:pt>
                <c:pt idx="32">
                  <c:v>0.1456239335502308</c:v>
                </c:pt>
                <c:pt idx="33">
                  <c:v>0.1434342477121855</c:v>
                </c:pt>
                <c:pt idx="34">
                  <c:v>0.1445061482384356</c:v>
                </c:pt>
                <c:pt idx="35">
                  <c:v>0.1427870371213023</c:v>
                </c:pt>
                <c:pt idx="36">
                  <c:v>0.13661359593131084</c:v>
                </c:pt>
                <c:pt idx="37">
                  <c:v>0.14561352409327805</c:v>
                </c:pt>
                <c:pt idx="38">
                  <c:v>0.14147120645994843</c:v>
                </c:pt>
                <c:pt idx="39">
                  <c:v>0.14628284033090627</c:v>
                </c:pt>
                <c:pt idx="40">
                  <c:v>0.14369391083022043</c:v>
                </c:pt>
                <c:pt idx="41">
                  <c:v>0.13229237952588052</c:v>
                </c:pt>
                <c:pt idx="42">
                  <c:v>0.20439345758716432</c:v>
                </c:pt>
                <c:pt idx="43">
                  <c:v>0.16015484387808993</c:v>
                </c:pt>
                <c:pt idx="44">
                  <c:v>0.17020620627828104</c:v>
                </c:pt>
                <c:pt idx="45">
                  <c:v>0.17253824129082285</c:v>
                </c:pt>
                <c:pt idx="46">
                  <c:v>0.14113363212880803</c:v>
                </c:pt>
                <c:pt idx="47">
                  <c:v>0.15003416618009746</c:v>
                </c:pt>
                <c:pt idx="48">
                  <c:v>0.1412480287018782</c:v>
                </c:pt>
                <c:pt idx="49">
                  <c:v>0.15135843448668052</c:v>
                </c:pt>
                <c:pt idx="50">
                  <c:v>0.14517002972194043</c:v>
                </c:pt>
                <c:pt idx="51">
                  <c:v>0.14280230097112823</c:v>
                </c:pt>
                <c:pt idx="52">
                  <c:v>0.1732763997874198</c:v>
                </c:pt>
                <c:pt idx="53">
                  <c:v>0.2564780012788713</c:v>
                </c:pt>
                <c:pt idx="54">
                  <c:v>0.173276399787419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Ruinar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08808290155441"/>
          <c:min val="0.04613610149942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50.8467</c:v>
                </c:pt>
                <c:pt idx="1">
                  <c:v>51.8</c:v>
                </c:pt>
                <c:pt idx="2">
                  <c:v>50.8082</c:v>
                </c:pt>
                <c:pt idx="3">
                  <c:v>51.208</c:v>
                </c:pt>
                <c:pt idx="4">
                  <c:v>60.6167</c:v>
                </c:pt>
                <c:pt idx="5">
                  <c:v>61.5593</c:v>
                </c:pt>
                <c:pt idx="6">
                  <c:v>59.5484</c:v>
                </c:pt>
                <c:pt idx="7">
                  <c:v>57.56</c:v>
                </c:pt>
                <c:pt idx="8">
                  <c:v>64.2105</c:v>
                </c:pt>
                <c:pt idx="9">
                  <c:v>57.3846</c:v>
                </c:pt>
                <c:pt idx="10">
                  <c:v>60.2636</c:v>
                </c:pt>
                <c:pt idx="11">
                  <c:v>60.3333</c:v>
                </c:pt>
                <c:pt idx="12">
                  <c:v>61.9655</c:v>
                </c:pt>
                <c:pt idx="13">
                  <c:v>59.3194</c:v>
                </c:pt>
                <c:pt idx="14">
                  <c:v>61.254</c:v>
                </c:pt>
                <c:pt idx="15">
                  <c:v>58.6522</c:v>
                </c:pt>
                <c:pt idx="16">
                  <c:v>58.5467</c:v>
                </c:pt>
                <c:pt idx="17">
                  <c:v>58.7846</c:v>
                </c:pt>
                <c:pt idx="18">
                  <c:v>58.7887</c:v>
                </c:pt>
                <c:pt idx="19">
                  <c:v>62.18</c:v>
                </c:pt>
                <c:pt idx="20">
                  <c:v>59.0167</c:v>
                </c:pt>
                <c:pt idx="21">
                  <c:v>59.9333</c:v>
                </c:pt>
                <c:pt idx="22">
                  <c:v>62.6515</c:v>
                </c:pt>
                <c:pt idx="23">
                  <c:v>63.7179</c:v>
                </c:pt>
                <c:pt idx="24">
                  <c:v>59.038</c:v>
                </c:pt>
                <c:pt idx="25">
                  <c:v>63.549</c:v>
                </c:pt>
                <c:pt idx="26">
                  <c:v>60.6613</c:v>
                </c:pt>
                <c:pt idx="27">
                  <c:v>61.0426</c:v>
                </c:pt>
                <c:pt idx="28">
                  <c:v>58.7708</c:v>
                </c:pt>
                <c:pt idx="29">
                  <c:v>62.0</c:v>
                </c:pt>
                <c:pt idx="30">
                  <c:v>64.2051</c:v>
                </c:pt>
                <c:pt idx="31">
                  <c:v>57.1515</c:v>
                </c:pt>
                <c:pt idx="32">
                  <c:v>60.4615</c:v>
                </c:pt>
                <c:pt idx="33">
                  <c:v>60.1538</c:v>
                </c:pt>
                <c:pt idx="34">
                  <c:v>59.7167</c:v>
                </c:pt>
                <c:pt idx="35">
                  <c:v>63.7143</c:v>
                </c:pt>
                <c:pt idx="36">
                  <c:v>61.1842</c:v>
                </c:pt>
                <c:pt idx="37">
                  <c:v>60.2075</c:v>
                </c:pt>
                <c:pt idx="38">
                  <c:v>62.4643</c:v>
                </c:pt>
                <c:pt idx="39">
                  <c:v>60.4483</c:v>
                </c:pt>
                <c:pt idx="40">
                  <c:v>55.6947</c:v>
                </c:pt>
                <c:pt idx="41">
                  <c:v>52.375</c:v>
                </c:pt>
                <c:pt idx="42">
                  <c:v>58.1026</c:v>
                </c:pt>
                <c:pt idx="43">
                  <c:v>54.0941</c:v>
                </c:pt>
                <c:pt idx="44">
                  <c:v>54.4494</c:v>
                </c:pt>
                <c:pt idx="45">
                  <c:v>53.7614</c:v>
                </c:pt>
                <c:pt idx="46">
                  <c:v>55.1881</c:v>
                </c:pt>
                <c:pt idx="47">
                  <c:v>52.8281</c:v>
                </c:pt>
                <c:pt idx="48">
                  <c:v>54.8889</c:v>
                </c:pt>
                <c:pt idx="49">
                  <c:v>55.0</c:v>
                </c:pt>
                <c:pt idx="50">
                  <c:v>56.9341</c:v>
                </c:pt>
                <c:pt idx="51">
                  <c:v>57.1116</c:v>
                </c:pt>
                <c:pt idx="52">
                  <c:v>55.388</c:v>
                </c:pt>
                <c:pt idx="53">
                  <c:v>54.4091</c:v>
                </c:pt>
                <c:pt idx="54">
                  <c:v>57.1493</c:v>
                </c:pt>
                <c:pt idx="55">
                  <c:v>56.2203</c:v>
                </c:pt>
                <c:pt idx="56">
                  <c:v>54.4744</c:v>
                </c:pt>
                <c:pt idx="57">
                  <c:v>54.4051</c:v>
                </c:pt>
                <c:pt idx="58">
                  <c:v>54.6444</c:v>
                </c:pt>
                <c:pt idx="59">
                  <c:v>56.6471</c:v>
                </c:pt>
                <c:pt idx="60">
                  <c:v>54.5469</c:v>
                </c:pt>
                <c:pt idx="61">
                  <c:v>54.2192</c:v>
                </c:pt>
                <c:pt idx="62">
                  <c:v>53.5333</c:v>
                </c:pt>
                <c:pt idx="63">
                  <c:v>55.5781</c:v>
                </c:pt>
                <c:pt idx="64">
                  <c:v>53.6835</c:v>
                </c:pt>
                <c:pt idx="65">
                  <c:v>56.125</c:v>
                </c:pt>
                <c:pt idx="66">
                  <c:v>57.1875</c:v>
                </c:pt>
                <c:pt idx="67">
                  <c:v>44.2234</c:v>
                </c:pt>
                <c:pt idx="68">
                  <c:v>44.1462</c:v>
                </c:pt>
                <c:pt idx="69">
                  <c:v>44.0153</c:v>
                </c:pt>
                <c:pt idx="70">
                  <c:v>43.7634</c:v>
                </c:pt>
                <c:pt idx="71">
                  <c:v>51.1379</c:v>
                </c:pt>
                <c:pt idx="72">
                  <c:v>56.5658</c:v>
                </c:pt>
                <c:pt idx="73">
                  <c:v>54.7838</c:v>
                </c:pt>
                <c:pt idx="74">
                  <c:v>53.1667</c:v>
                </c:pt>
                <c:pt idx="75">
                  <c:v>53.7734</c:v>
                </c:pt>
                <c:pt idx="76">
                  <c:v>54.2857</c:v>
                </c:pt>
                <c:pt idx="77">
                  <c:v>55.3521</c:v>
                </c:pt>
              </c:numCache>
            </c:numRef>
          </c:xVal>
          <c:yVal>
            <c:numRef>
              <c:f>Sheet1!$B$2:$B$79</c:f>
              <c:numCache>
                <c:formatCode>General</c:formatCode>
                <c:ptCount val="78"/>
                <c:pt idx="0">
                  <c:v>0.12679628064243448</c:v>
                </c:pt>
                <c:pt idx="1">
                  <c:v>0.1159678858162355</c:v>
                </c:pt>
                <c:pt idx="2">
                  <c:v>0.12362404741744284</c:v>
                </c:pt>
                <c:pt idx="3">
                  <c:v>0.11606313834726091</c:v>
                </c:pt>
                <c:pt idx="4">
                  <c:v>0.08379888268156424</c:v>
                </c:pt>
                <c:pt idx="5">
                  <c:v>0.06562847608453838</c:v>
                </c:pt>
                <c:pt idx="6">
                  <c:v>0.10665137614678899</c:v>
                </c:pt>
                <c:pt idx="7">
                  <c:v>0.05767012687427912</c:v>
                </c:pt>
                <c:pt idx="8">
                  <c:v>0.0981404958677686</c:v>
                </c:pt>
                <c:pt idx="9">
                  <c:v>0.13554502369668248</c:v>
                </c:pt>
                <c:pt idx="10">
                  <c:v>0.20219435736677116</c:v>
                </c:pt>
                <c:pt idx="11">
                  <c:v>0.1708542713567839</c:v>
                </c:pt>
                <c:pt idx="12">
                  <c:v>0.09586776859504133</c:v>
                </c:pt>
                <c:pt idx="13">
                  <c:v>0.09461235216819974</c:v>
                </c:pt>
                <c:pt idx="14">
                  <c:v>0.0945945945945946</c:v>
                </c:pt>
                <c:pt idx="15">
                  <c:v>0.12365591397849462</c:v>
                </c:pt>
                <c:pt idx="16">
                  <c:v>0.11380880121396054</c:v>
                </c:pt>
                <c:pt idx="17">
                  <c:v>0.1079734219269103</c:v>
                </c:pt>
                <c:pt idx="18">
                  <c:v>0.11544715447154472</c:v>
                </c:pt>
                <c:pt idx="19">
                  <c:v>0.07961783439490445</c:v>
                </c:pt>
                <c:pt idx="20">
                  <c:v>0.06711409395973154</c:v>
                </c:pt>
                <c:pt idx="21">
                  <c:v>0.08152173913043478</c:v>
                </c:pt>
                <c:pt idx="22">
                  <c:v>0.09880239520958084</c:v>
                </c:pt>
                <c:pt idx="23">
                  <c:v>0.08853575482406356</c:v>
                </c:pt>
                <c:pt idx="24">
                  <c:v>0.11285714285714285</c:v>
                </c:pt>
                <c:pt idx="25">
                  <c:v>0.07183098591549296</c:v>
                </c:pt>
                <c:pt idx="26">
                  <c:v>0.08157894736842106</c:v>
                </c:pt>
                <c:pt idx="27">
                  <c:v>0.063257065948856</c:v>
                </c:pt>
                <c:pt idx="28">
                  <c:v>0.06512890094979647</c:v>
                </c:pt>
                <c:pt idx="29">
                  <c:v>0.07085561497326204</c:v>
                </c:pt>
                <c:pt idx="30">
                  <c:v>0.07975460122699386</c:v>
                </c:pt>
                <c:pt idx="31">
                  <c:v>0.07621247113163972</c:v>
                </c:pt>
                <c:pt idx="32">
                  <c:v>0.08074534161490683</c:v>
                </c:pt>
                <c:pt idx="33">
                  <c:v>0.09006928406466513</c:v>
                </c:pt>
                <c:pt idx="34">
                  <c:v>0.09188361408882083</c:v>
                </c:pt>
                <c:pt idx="35">
                  <c:v>0.1087378640776699</c:v>
                </c:pt>
                <c:pt idx="36">
                  <c:v>0.06643356643356643</c:v>
                </c:pt>
                <c:pt idx="37">
                  <c:v>0.08079268292682927</c:v>
                </c:pt>
                <c:pt idx="38">
                  <c:v>0.1001788908765653</c:v>
                </c:pt>
                <c:pt idx="39">
                  <c:v>0.0919175911251981</c:v>
                </c:pt>
                <c:pt idx="40">
                  <c:v>0.17025089605734767</c:v>
                </c:pt>
                <c:pt idx="41">
                  <c:v>0.12698412698412698</c:v>
                </c:pt>
                <c:pt idx="42">
                  <c:v>0.1729490022172949</c:v>
                </c:pt>
                <c:pt idx="43">
                  <c:v>0.10353227771010962</c:v>
                </c:pt>
                <c:pt idx="44">
                  <c:v>0.09737417943107221</c:v>
                </c:pt>
                <c:pt idx="45">
                  <c:v>0.10837438423645321</c:v>
                </c:pt>
                <c:pt idx="46">
                  <c:v>0.09395348837209302</c:v>
                </c:pt>
                <c:pt idx="47">
                  <c:v>0.12075471698113208</c:v>
                </c:pt>
                <c:pt idx="48">
                  <c:v>0.12217194570135746</c:v>
                </c:pt>
                <c:pt idx="49">
                  <c:v>0.10771992818671454</c:v>
                </c:pt>
                <c:pt idx="50">
                  <c:v>0.10164333536214243</c:v>
                </c:pt>
                <c:pt idx="51">
                  <c:v>0.10879067508499271</c:v>
                </c:pt>
                <c:pt idx="52">
                  <c:v>0.13000520020800832</c:v>
                </c:pt>
                <c:pt idx="53">
                  <c:v>0.08483290488431877</c:v>
                </c:pt>
                <c:pt idx="54">
                  <c:v>0.08385481852315395</c:v>
                </c:pt>
                <c:pt idx="55">
                  <c:v>0.0880597014925373</c:v>
                </c:pt>
                <c:pt idx="56">
                  <c:v>0.12460063897763578</c:v>
                </c:pt>
                <c:pt idx="57">
                  <c:v>0.1490566037735849</c:v>
                </c:pt>
                <c:pt idx="58">
                  <c:v>0.141287284144427</c:v>
                </c:pt>
                <c:pt idx="59">
                  <c:v>0.13934426229508196</c:v>
                </c:pt>
                <c:pt idx="60">
                  <c:v>0.14988290398126464</c:v>
                </c:pt>
                <c:pt idx="61">
                  <c:v>0.1655328798185941</c:v>
                </c:pt>
                <c:pt idx="62">
                  <c:v>0.176056338028169</c:v>
                </c:pt>
                <c:pt idx="63">
                  <c:v>0.14678899082568808</c:v>
                </c:pt>
                <c:pt idx="64">
                  <c:v>0.14766355140186915</c:v>
                </c:pt>
                <c:pt idx="65">
                  <c:v>0.12173913043478261</c:v>
                </c:pt>
                <c:pt idx="66">
                  <c:v>0.10714285714285714</c:v>
                </c:pt>
                <c:pt idx="67">
                  <c:v>0.44359756097560976</c:v>
                </c:pt>
                <c:pt idx="68">
                  <c:v>0.4379001280409731</c:v>
                </c:pt>
                <c:pt idx="69">
                  <c:v>0.5090673575129534</c:v>
                </c:pt>
                <c:pt idx="70">
                  <c:v>0.48880597014925375</c:v>
                </c:pt>
                <c:pt idx="71">
                  <c:v>0.23450134770889489</c:v>
                </c:pt>
                <c:pt idx="72">
                  <c:v>0.12317666126418152</c:v>
                </c:pt>
                <c:pt idx="73">
                  <c:v>0.11653543307086614</c:v>
                </c:pt>
                <c:pt idx="74">
                  <c:v>0.20202020202020202</c:v>
                </c:pt>
                <c:pt idx="75">
                  <c:v>0.2365988909426987</c:v>
                </c:pt>
                <c:pt idx="76">
                  <c:v>0.18356643356643357</c:v>
                </c:pt>
                <c:pt idx="77">
                  <c:v>0.12956204379562045</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55.7215</c:v>
                </c:pt>
                <c:pt idx="1">
                  <c:v>55.0862</c:v>
                </c:pt>
                <c:pt idx="2">
                  <c:v>59.093</c:v>
                </c:pt>
                <c:pt idx="3">
                  <c:v>53.209</c:v>
                </c:pt>
                <c:pt idx="4">
                  <c:v>55.359</c:v>
                </c:pt>
                <c:pt idx="5">
                  <c:v>53.8</c:v>
                </c:pt>
                <c:pt idx="6">
                  <c:v>54.5882</c:v>
                </c:pt>
                <c:pt idx="7">
                  <c:v>57.125</c:v>
                </c:pt>
                <c:pt idx="8">
                  <c:v>55.7679</c:v>
                </c:pt>
                <c:pt idx="9">
                  <c:v>55.0938</c:v>
                </c:pt>
                <c:pt idx="10">
                  <c:v>55.125</c:v>
                </c:pt>
                <c:pt idx="11">
                  <c:v>53.9524</c:v>
                </c:pt>
                <c:pt idx="12">
                  <c:v>53.0694</c:v>
                </c:pt>
                <c:pt idx="13">
                  <c:v>54.2941</c:v>
                </c:pt>
                <c:pt idx="14">
                  <c:v>54.4051</c:v>
                </c:pt>
                <c:pt idx="15">
                  <c:v>53.475</c:v>
                </c:pt>
                <c:pt idx="16">
                  <c:v>54.2338</c:v>
                </c:pt>
                <c:pt idx="17">
                  <c:v>54.3279</c:v>
                </c:pt>
                <c:pt idx="18">
                  <c:v>54.4643</c:v>
                </c:pt>
                <c:pt idx="19">
                  <c:v>53.6633</c:v>
                </c:pt>
                <c:pt idx="20">
                  <c:v>54.7</c:v>
                </c:pt>
                <c:pt idx="21">
                  <c:v>55.8</c:v>
                </c:pt>
                <c:pt idx="22">
                  <c:v>53.9082</c:v>
                </c:pt>
                <c:pt idx="23">
                  <c:v>53.5495</c:v>
                </c:pt>
                <c:pt idx="24">
                  <c:v>54.4573</c:v>
                </c:pt>
                <c:pt idx="25">
                  <c:v>54.7093</c:v>
                </c:pt>
                <c:pt idx="26">
                  <c:v>56.0541</c:v>
                </c:pt>
                <c:pt idx="27">
                  <c:v>57.2308</c:v>
                </c:pt>
                <c:pt idx="28">
                  <c:v>55.5714</c:v>
                </c:pt>
                <c:pt idx="29">
                  <c:v>54.0159</c:v>
                </c:pt>
                <c:pt idx="30">
                  <c:v>56.5167</c:v>
                </c:pt>
                <c:pt idx="31">
                  <c:v>54.3043</c:v>
                </c:pt>
                <c:pt idx="32">
                  <c:v>54.6372</c:v>
                </c:pt>
                <c:pt idx="33">
                  <c:v>53.3455</c:v>
                </c:pt>
                <c:pt idx="34">
                  <c:v>54.1642</c:v>
                </c:pt>
                <c:pt idx="35">
                  <c:v>55.4459</c:v>
                </c:pt>
                <c:pt idx="36">
                  <c:v>56.7143</c:v>
                </c:pt>
                <c:pt idx="37">
                  <c:v>53.9184</c:v>
                </c:pt>
                <c:pt idx="38">
                  <c:v>55.4107</c:v>
                </c:pt>
                <c:pt idx="39">
                  <c:v>53.7391</c:v>
                </c:pt>
                <c:pt idx="40">
                  <c:v>54.5333</c:v>
                </c:pt>
                <c:pt idx="41">
                  <c:v>56.3014</c:v>
                </c:pt>
                <c:pt idx="42">
                  <c:v>52.023</c:v>
                </c:pt>
                <c:pt idx="43">
                  <c:v>50.2536</c:v>
                </c:pt>
                <c:pt idx="44">
                  <c:v>48.8467</c:v>
                </c:pt>
                <c:pt idx="45">
                  <c:v>49.3876</c:v>
                </c:pt>
                <c:pt idx="46">
                  <c:v>55.1136</c:v>
                </c:pt>
                <c:pt idx="47">
                  <c:v>54.0</c:v>
                </c:pt>
                <c:pt idx="48">
                  <c:v>54.8333</c:v>
                </c:pt>
                <c:pt idx="49">
                  <c:v>53.1358</c:v>
                </c:pt>
                <c:pt idx="50">
                  <c:v>53.9452</c:v>
                </c:pt>
                <c:pt idx="51">
                  <c:v>55.6964</c:v>
                </c:pt>
              </c:numCache>
            </c:numRef>
          </c:xVal>
          <c:yVal>
            <c:numRef>
              <c:f>Sheet1!$B$82:$B$133</c:f>
              <c:numCache>
                <c:formatCode>General</c:formatCode>
                <c:ptCount val="52"/>
                <c:pt idx="0">
                  <c:v>0.1673728813559322</c:v>
                </c:pt>
                <c:pt idx="1">
                  <c:v>0.11350293542074363</c:v>
                </c:pt>
                <c:pt idx="2">
                  <c:v>0.08847736625514403</c:v>
                </c:pt>
                <c:pt idx="3">
                  <c:v>0.14596949891067537</c:v>
                </c:pt>
                <c:pt idx="4">
                  <c:v>0.11079545454545454</c:v>
                </c:pt>
                <c:pt idx="5">
                  <c:v>0.16129032258064516</c:v>
                </c:pt>
                <c:pt idx="6">
                  <c:v>0.11971830985915492</c:v>
                </c:pt>
                <c:pt idx="7">
                  <c:v>0.12658227848101267</c:v>
                </c:pt>
                <c:pt idx="8">
                  <c:v>0.1275626423690205</c:v>
                </c:pt>
                <c:pt idx="9">
                  <c:v>0.128</c:v>
                </c:pt>
                <c:pt idx="10">
                  <c:v>0.17167381974248927</c:v>
                </c:pt>
                <c:pt idx="11">
                  <c:v>0.125</c:v>
                </c:pt>
                <c:pt idx="12">
                  <c:v>0.16179775280898875</c:v>
                </c:pt>
                <c:pt idx="13">
                  <c:v>0.1705685618729097</c:v>
                </c:pt>
                <c:pt idx="14">
                  <c:v>0.16952789699570817</c:v>
                </c:pt>
                <c:pt idx="15">
                  <c:v>0.17204301075268819</c:v>
                </c:pt>
                <c:pt idx="16">
                  <c:v>0.16775599128540306</c:v>
                </c:pt>
                <c:pt idx="17">
                  <c:v>0.14352941176470588</c:v>
                </c:pt>
                <c:pt idx="18">
                  <c:v>0.14788732394366197</c:v>
                </c:pt>
                <c:pt idx="19">
                  <c:v>0.19291338582677164</c:v>
                </c:pt>
                <c:pt idx="20">
                  <c:v>0.15358361774744028</c:v>
                </c:pt>
                <c:pt idx="21">
                  <c:v>0.12168141592920353</c:v>
                </c:pt>
                <c:pt idx="22">
                  <c:v>0.11225658648339061</c:v>
                </c:pt>
                <c:pt idx="23">
                  <c:v>0.07979870596693027</c:v>
                </c:pt>
                <c:pt idx="24">
                  <c:v>0.1421759861291721</c:v>
                </c:pt>
                <c:pt idx="25">
                  <c:v>0.11344327836081959</c:v>
                </c:pt>
                <c:pt idx="26">
                  <c:v>0.10818713450292397</c:v>
                </c:pt>
                <c:pt idx="27">
                  <c:v>0.1346153846153846</c:v>
                </c:pt>
                <c:pt idx="28">
                  <c:v>0.10096153846153846</c:v>
                </c:pt>
                <c:pt idx="29">
                  <c:v>0.11580882352941177</c:v>
                </c:pt>
                <c:pt idx="30">
                  <c:v>0.09419152276295134</c:v>
                </c:pt>
                <c:pt idx="31">
                  <c:v>0.16350710900473933</c:v>
                </c:pt>
                <c:pt idx="32">
                  <c:v>0.2100371747211896</c:v>
                </c:pt>
                <c:pt idx="33">
                  <c:v>0.17027863777089783</c:v>
                </c:pt>
                <c:pt idx="34">
                  <c:v>0.17402597402597403</c:v>
                </c:pt>
                <c:pt idx="35">
                  <c:v>0.18546365914786966</c:v>
                </c:pt>
                <c:pt idx="36">
                  <c:v>0.12531969309462915</c:v>
                </c:pt>
                <c:pt idx="37">
                  <c:v>0.1346153846153846</c:v>
                </c:pt>
                <c:pt idx="38">
                  <c:v>0.1342925659472422</c:v>
                </c:pt>
                <c:pt idx="39">
                  <c:v>0.1564625850340136</c:v>
                </c:pt>
                <c:pt idx="40">
                  <c:v>0.1744186046511628</c:v>
                </c:pt>
                <c:pt idx="41">
                  <c:v>0.15766738660907129</c:v>
                </c:pt>
                <c:pt idx="42">
                  <c:v>0.20518867924528303</c:v>
                </c:pt>
                <c:pt idx="43">
                  <c:v>0.27111984282907664</c:v>
                </c:pt>
                <c:pt idx="44">
                  <c:v>0.28482328482328484</c:v>
                </c:pt>
                <c:pt idx="45">
                  <c:v>0.24807692307692308</c:v>
                </c:pt>
                <c:pt idx="46">
                  <c:v>0.10304449648711944</c:v>
                </c:pt>
                <c:pt idx="47">
                  <c:v>0.12705882352941175</c:v>
                </c:pt>
                <c:pt idx="48">
                  <c:v>0.11785714285714285</c:v>
                </c:pt>
                <c:pt idx="49">
                  <c:v>0.150278293135436</c:v>
                </c:pt>
                <c:pt idx="50">
                  <c:v>0.14065510597302505</c:v>
                </c:pt>
                <c:pt idx="51">
                  <c:v>0.11594202898550725</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48.260210800955335</c:v>
                </c:pt>
              </c:numCache>
            </c:numRef>
          </c:xVal>
          <c:yVal>
            <c:numRef>
              <c:f>Sheet1!$B$136:$B$137</c:f>
              <c:numCache>
                <c:formatCode>General</c:formatCode>
                <c:ptCount val="2"/>
                <c:pt idx="0">
                  <c:v>0.2564780012788713</c:v>
                </c:pt>
                <c:pt idx="1">
                  <c:v>0.2564780012788713</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48.260210800955335</c:v>
                </c:pt>
                <c:pt idx="1">
                  <c:v>48.260210800955335</c:v>
                </c:pt>
              </c:numCache>
            </c:numRef>
          </c:xVal>
          <c:yVal>
            <c:numRef>
              <c:f>Sheet1!$B$140:$B$141</c:f>
              <c:numCache>
                <c:formatCode>General</c:formatCode>
                <c:ptCount val="2"/>
                <c:pt idx="0">
                  <c:v>0.25647800127887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53.05467361138199</c:v>
                </c:pt>
              </c:numCache>
            </c:numRef>
          </c:xVal>
          <c:yVal>
            <c:numRef>
              <c:f>Sheet1!$B$144:$B$145</c:f>
              <c:numCache>
                <c:formatCode>General</c:formatCode>
                <c:ptCount val="2"/>
                <c:pt idx="0">
                  <c:v>0.1732763997874198</c:v>
                </c:pt>
                <c:pt idx="1">
                  <c:v>0.1732763997874198</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53.05467361138199</c:v>
                </c:pt>
                <c:pt idx="1">
                  <c:v>53.05467361138199</c:v>
                </c:pt>
              </c:numCache>
            </c:numRef>
          </c:xVal>
          <c:yVal>
            <c:numRef>
              <c:f>Sheet1!$B$148:$B$149</c:f>
              <c:numCache>
                <c:formatCode>General</c:formatCode>
                <c:ptCount val="2"/>
                <c:pt idx="0">
                  <c:v>0.17327639978741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53.05467361138199</c:v>
                </c:pt>
              </c:numCache>
            </c:numRef>
          </c:xVal>
          <c:yVal>
            <c:numRef>
              <c:f>Sheet1!$B$152:$B$153</c:f>
              <c:numCache>
                <c:formatCode>General</c:formatCode>
                <c:ptCount val="2"/>
                <c:pt idx="0">
                  <c:v>0.17327639978741985</c:v>
                </c:pt>
                <c:pt idx="1">
                  <c:v>0.17327639978741985</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53.05467361138199</c:v>
                </c:pt>
                <c:pt idx="1">
                  <c:v>53.05467361138199</c:v>
                </c:pt>
              </c:numCache>
            </c:numRef>
          </c:xVal>
          <c:yVal>
            <c:numRef>
              <c:f>Sheet1!$B$156:$B$157</c:f>
              <c:numCache>
                <c:formatCode>General</c:formatCode>
                <c:ptCount val="2"/>
                <c:pt idx="0">
                  <c:v>0.173276399787419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55.7215</c:v>
                </c:pt>
                <c:pt idx="1">
                  <c:v>55.0862</c:v>
                </c:pt>
                <c:pt idx="2">
                  <c:v>59.093</c:v>
                </c:pt>
                <c:pt idx="3">
                  <c:v>53.209</c:v>
                </c:pt>
                <c:pt idx="4">
                  <c:v>55.359</c:v>
                </c:pt>
                <c:pt idx="5">
                  <c:v>53.8</c:v>
                </c:pt>
                <c:pt idx="6">
                  <c:v>54.5882</c:v>
                </c:pt>
                <c:pt idx="7">
                  <c:v>57.125</c:v>
                </c:pt>
                <c:pt idx="8">
                  <c:v>55.7679</c:v>
                </c:pt>
                <c:pt idx="9">
                  <c:v>55.0938</c:v>
                </c:pt>
                <c:pt idx="10">
                  <c:v>55.125</c:v>
                </c:pt>
                <c:pt idx="11">
                  <c:v>53.9524</c:v>
                </c:pt>
                <c:pt idx="12">
                  <c:v>53.0694</c:v>
                </c:pt>
                <c:pt idx="13">
                  <c:v>54.2941</c:v>
                </c:pt>
                <c:pt idx="14">
                  <c:v>54.4051</c:v>
                </c:pt>
                <c:pt idx="15">
                  <c:v>53.475</c:v>
                </c:pt>
                <c:pt idx="16">
                  <c:v>54.2338</c:v>
                </c:pt>
                <c:pt idx="17">
                  <c:v>54.3279</c:v>
                </c:pt>
                <c:pt idx="18">
                  <c:v>54.4643</c:v>
                </c:pt>
                <c:pt idx="19">
                  <c:v>53.6633</c:v>
                </c:pt>
                <c:pt idx="20">
                  <c:v>54.7</c:v>
                </c:pt>
                <c:pt idx="21">
                  <c:v>55.8</c:v>
                </c:pt>
                <c:pt idx="22">
                  <c:v>53.9082</c:v>
                </c:pt>
                <c:pt idx="23">
                  <c:v>53.5495</c:v>
                </c:pt>
                <c:pt idx="24">
                  <c:v>54.4573</c:v>
                </c:pt>
                <c:pt idx="25">
                  <c:v>54.7093</c:v>
                </c:pt>
                <c:pt idx="26">
                  <c:v>56.0541</c:v>
                </c:pt>
                <c:pt idx="27">
                  <c:v>57.2308</c:v>
                </c:pt>
                <c:pt idx="28">
                  <c:v>55.5714</c:v>
                </c:pt>
                <c:pt idx="29">
                  <c:v>54.0159</c:v>
                </c:pt>
                <c:pt idx="30">
                  <c:v>56.5167</c:v>
                </c:pt>
                <c:pt idx="31">
                  <c:v>54.3043</c:v>
                </c:pt>
                <c:pt idx="32">
                  <c:v>54.6372</c:v>
                </c:pt>
                <c:pt idx="33">
                  <c:v>53.3455</c:v>
                </c:pt>
                <c:pt idx="34">
                  <c:v>54.1642</c:v>
                </c:pt>
                <c:pt idx="35">
                  <c:v>55.4459</c:v>
                </c:pt>
                <c:pt idx="36">
                  <c:v>56.7143</c:v>
                </c:pt>
                <c:pt idx="37">
                  <c:v>53.9184</c:v>
                </c:pt>
                <c:pt idx="38">
                  <c:v>55.4107</c:v>
                </c:pt>
                <c:pt idx="39">
                  <c:v>53.7391</c:v>
                </c:pt>
                <c:pt idx="40">
                  <c:v>54.5333</c:v>
                </c:pt>
                <c:pt idx="41">
                  <c:v>56.3014</c:v>
                </c:pt>
                <c:pt idx="42">
                  <c:v>52.023</c:v>
                </c:pt>
                <c:pt idx="43">
                  <c:v>50.2536</c:v>
                </c:pt>
                <c:pt idx="44">
                  <c:v>48.8467</c:v>
                </c:pt>
                <c:pt idx="45">
                  <c:v>49.3876</c:v>
                </c:pt>
                <c:pt idx="46">
                  <c:v>55.1136</c:v>
                </c:pt>
                <c:pt idx="47">
                  <c:v>54.0</c:v>
                </c:pt>
                <c:pt idx="48">
                  <c:v>54.8333</c:v>
                </c:pt>
                <c:pt idx="49">
                  <c:v>53.1358</c:v>
                </c:pt>
                <c:pt idx="50">
                  <c:v>53.9452</c:v>
                </c:pt>
                <c:pt idx="51">
                  <c:v>55.6964</c:v>
                </c:pt>
                <c:pt idx="52">
                  <c:v>53.05467361138199</c:v>
                </c:pt>
                <c:pt idx="53">
                  <c:v>48.260210800955335</c:v>
                </c:pt>
                <c:pt idx="54">
                  <c:v>53.05467361138199</c:v>
                </c:pt>
              </c:numCache>
            </c:numRef>
          </c:xVal>
          <c:yVal>
            <c:numRef>
              <c:f>Sheet1!$B$160:$B$214</c:f>
              <c:numCache>
                <c:formatCode>General</c:formatCode>
                <c:ptCount val="55"/>
                <c:pt idx="0">
                  <c:v>0.12699713238959076</c:v>
                </c:pt>
                <c:pt idx="1">
                  <c:v>0.13802192901801957</c:v>
                </c:pt>
                <c:pt idx="2">
                  <c:v>0.06848918050426445</c:v>
                </c:pt>
                <c:pt idx="3">
                  <c:v>0.170598268119053</c:v>
                </c:pt>
                <c:pt idx="4">
                  <c:v>0.1332878435147371</c:v>
                </c:pt>
                <c:pt idx="5">
                  <c:v>0.16034223977433182</c:v>
                </c:pt>
                <c:pt idx="6">
                  <c:v>0.1466640645775309</c:v>
                </c:pt>
                <c:pt idx="7">
                  <c:v>0.10264123428161054</c:v>
                </c:pt>
                <c:pt idx="8">
                  <c:v>0.1261919213655721</c:v>
                </c:pt>
                <c:pt idx="9">
                  <c:v>0.13789004100546476</c:v>
                </c:pt>
                <c:pt idx="10">
                  <c:v>0.13734860600655563</c:v>
                </c:pt>
                <c:pt idx="11">
                  <c:v>0.15769753804889097</c:v>
                </c:pt>
                <c:pt idx="12">
                  <c:v>0.17302084266545426</c:v>
                </c:pt>
                <c:pt idx="13">
                  <c:v>0.15176778358968412</c:v>
                </c:pt>
                <c:pt idx="14">
                  <c:v>0.14984152445894972</c:v>
                </c:pt>
                <c:pt idx="15">
                  <c:v>0.16598218767963535</c:v>
                </c:pt>
                <c:pt idx="16">
                  <c:v>0.15281421084719116</c:v>
                </c:pt>
                <c:pt idx="17">
                  <c:v>0.1511812290075325</c:v>
                </c:pt>
                <c:pt idx="18">
                  <c:v>0.14881418625589127</c:v>
                </c:pt>
                <c:pt idx="19">
                  <c:v>0.16271448863173177</c:v>
                </c:pt>
                <c:pt idx="20">
                  <c:v>0.1447239224981064</c:v>
                </c:pt>
                <c:pt idx="21">
                  <c:v>0.12563486804938673</c:v>
                </c:pt>
                <c:pt idx="22">
                  <c:v>0.15846457096401223</c:v>
                </c:pt>
                <c:pt idx="23">
                  <c:v>0.1646893380828811</c:v>
                </c:pt>
                <c:pt idx="24">
                  <c:v>0.14893566205692865</c:v>
                </c:pt>
                <c:pt idx="25">
                  <c:v>0.14456253321958557</c:v>
                </c:pt>
                <c:pt idx="26">
                  <c:v>0.12122529647173241</c:v>
                </c:pt>
                <c:pt idx="27">
                  <c:v>0.10080521431736089</c:v>
                </c:pt>
                <c:pt idx="28">
                  <c:v>0.12960192063754794</c:v>
                </c:pt>
                <c:pt idx="29">
                  <c:v>0.1565955789966239</c:v>
                </c:pt>
                <c:pt idx="30">
                  <c:v>0.11319748139175256</c:v>
                </c:pt>
                <c:pt idx="31">
                  <c:v>0.15159077599388693</c:v>
                </c:pt>
                <c:pt idx="32">
                  <c:v>0.14581373397026975</c:v>
                </c:pt>
                <c:pt idx="33">
                  <c:v>0.1682294899988256</c:v>
                </c:pt>
                <c:pt idx="34">
                  <c:v>0.15402202738321924</c:v>
                </c:pt>
                <c:pt idx="35">
                  <c:v>0.13177980821328816</c:v>
                </c:pt>
                <c:pt idx="36">
                  <c:v>0.10976839306532804</c:v>
                </c:pt>
                <c:pt idx="37">
                  <c:v>0.15828756336821503</c:v>
                </c:pt>
                <c:pt idx="38">
                  <c:v>0.1323906579556473</c:v>
                </c:pt>
                <c:pt idx="39">
                  <c:v>0.1613990792433564</c:v>
                </c:pt>
                <c:pt idx="40">
                  <c:v>0.14761678193138073</c:v>
                </c:pt>
                <c:pt idx="41">
                  <c:v>0.11693372995794293</c:v>
                </c:pt>
                <c:pt idx="42">
                  <c:v>0.19117973955194545</c:v>
                </c:pt>
                <c:pt idx="43">
                  <c:v>0.2218853513170045</c:v>
                </c:pt>
                <c:pt idx="44">
                  <c:v>0.24630025195691707</c:v>
                </c:pt>
                <c:pt idx="45">
                  <c:v>0.23691364327390563</c:v>
                </c:pt>
                <c:pt idx="46">
                  <c:v>0.1375464380253879</c:v>
                </c:pt>
                <c:pt idx="47">
                  <c:v>0.15687150260183724</c:v>
                </c:pt>
                <c:pt idx="48">
                  <c:v>0.14241067617263892</c:v>
                </c:pt>
                <c:pt idx="49">
                  <c:v>0.17186855792418598</c:v>
                </c:pt>
                <c:pt idx="50">
                  <c:v>0.1578224845871008</c:v>
                </c:pt>
                <c:pt idx="51">
                  <c:v>0.12743270990473887</c:v>
                </c:pt>
                <c:pt idx="52">
                  <c:v>0.17327639978741982</c:v>
                </c:pt>
                <c:pt idx="53">
                  <c:v>0.2564780012788713</c:v>
                </c:pt>
                <c:pt idx="54">
                  <c:v>0.173276399787419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7.0"/>
          <c:min val="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08808290155441"/>
          <c:min val="0.04613610149942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1.223720785831354</c:v>
                </c:pt>
                <c:pt idx="1">
                  <c:v>1.2515946959446398</c:v>
                </c:pt>
                <c:pt idx="2">
                  <c:v>1.2275180594815298</c:v>
                </c:pt>
                <c:pt idx="3">
                  <c:v>1.2365050044067756</c:v>
                </c:pt>
                <c:pt idx="4">
                  <c:v>1.3787333249934608</c:v>
                </c:pt>
                <c:pt idx="5">
                  <c:v>1.2590641995054497</c:v>
                </c:pt>
                <c:pt idx="6">
                  <c:v>1.1948344843914909</c:v>
                </c:pt>
                <c:pt idx="7">
                  <c:v>1.139459014316483</c:v>
                </c:pt>
                <c:pt idx="8">
                  <c:v>1.2668740948855857</c:v>
                </c:pt>
                <c:pt idx="9">
                  <c:v>1.1461103676925841</c:v>
                </c:pt>
                <c:pt idx="10">
                  <c:v>1.190124100449479</c:v>
                </c:pt>
                <c:pt idx="11">
                  <c:v>1.1903768827366321</c:v>
                </c:pt>
                <c:pt idx="12">
                  <c:v>1.2218545853930745</c:v>
                </c:pt>
                <c:pt idx="13">
                  <c:v>1.179398882223941</c:v>
                </c:pt>
                <c:pt idx="14">
                  <c:v>1.212950495049505</c:v>
                </c:pt>
                <c:pt idx="15">
                  <c:v>1.1660106239165355</c:v>
                </c:pt>
                <c:pt idx="16">
                  <c:v>1.1494439950682047</c:v>
                </c:pt>
                <c:pt idx="17">
                  <c:v>1.1604094080953837</c:v>
                </c:pt>
                <c:pt idx="18">
                  <c:v>1.1772927075927948</c:v>
                </c:pt>
                <c:pt idx="19">
                  <c:v>1.373287807377502</c:v>
                </c:pt>
                <c:pt idx="20">
                  <c:v>1.3037293781866057</c:v>
                </c:pt>
                <c:pt idx="21">
                  <c:v>1.326826860067655</c:v>
                </c:pt>
                <c:pt idx="22">
                  <c:v>1.2838422131147542</c:v>
                </c:pt>
                <c:pt idx="23">
                  <c:v>1.272601809502886</c:v>
                </c:pt>
                <c:pt idx="24">
                  <c:v>1.1643863984647882</c:v>
                </c:pt>
                <c:pt idx="25">
                  <c:v>1.263399602385686</c:v>
                </c:pt>
                <c:pt idx="26">
                  <c:v>1.3261909446667104</c:v>
                </c:pt>
                <c:pt idx="27">
                  <c:v>1.349723610312652</c:v>
                </c:pt>
                <c:pt idx="28">
                  <c:v>1.3050636312562593</c:v>
                </c:pt>
                <c:pt idx="29">
                  <c:v>1.3679437819232847</c:v>
                </c:pt>
                <c:pt idx="30">
                  <c:v>1.4219390873736524</c:v>
                </c:pt>
                <c:pt idx="31">
                  <c:v>1.2683422103861517</c:v>
                </c:pt>
                <c:pt idx="32">
                  <c:v>1.3365172277350286</c:v>
                </c:pt>
                <c:pt idx="33">
                  <c:v>1.3280186506946543</c:v>
                </c:pt>
                <c:pt idx="34">
                  <c:v>1.3226026502240267</c:v>
                </c:pt>
                <c:pt idx="35">
                  <c:v>1.332753914216686</c:v>
                </c:pt>
                <c:pt idx="36">
                  <c:v>1.2215292224515952</c:v>
                </c:pt>
                <c:pt idx="37">
                  <c:v>1.1764677146737272</c:v>
                </c:pt>
                <c:pt idx="38">
                  <c:v>1.2492860000000001</c:v>
                </c:pt>
                <c:pt idx="39">
                  <c:v>1.1977621330078447</c:v>
                </c:pt>
                <c:pt idx="40">
                  <c:v>1.1018355121549759</c:v>
                </c:pt>
                <c:pt idx="41">
                  <c:v>1.0438860664379916</c:v>
                </c:pt>
                <c:pt idx="42">
                  <c:v>1.1412134425392337</c:v>
                </c:pt>
                <c:pt idx="43">
                  <c:v>1.2602032852726506</c:v>
                </c:pt>
                <c:pt idx="44">
                  <c:v>1.2783019643104487</c:v>
                </c:pt>
                <c:pt idx="45">
                  <c:v>1.2190489579624997</c:v>
                </c:pt>
                <c:pt idx="46">
                  <c:v>1.1088026166954976</c:v>
                </c:pt>
                <c:pt idx="47">
                  <c:v>1.0816232097703795</c:v>
                </c:pt>
                <c:pt idx="48">
                  <c:v>1.0997421394610776</c:v>
                </c:pt>
                <c:pt idx="49">
                  <c:v>1.0888178407752382</c:v>
                </c:pt>
                <c:pt idx="50">
                  <c:v>1.1330507378329702</c:v>
                </c:pt>
                <c:pt idx="51">
                  <c:v>1.13649723495243</c:v>
                </c:pt>
                <c:pt idx="52">
                  <c:v>1.2180468323921112</c:v>
                </c:pt>
                <c:pt idx="53">
                  <c:v>1.2073953913614657</c:v>
                </c:pt>
                <c:pt idx="54">
                  <c:v>1.2669493967783843</c:v>
                </c:pt>
                <c:pt idx="55">
                  <c:v>1.2471892913553517</c:v>
                </c:pt>
                <c:pt idx="56">
                  <c:v>1.1479919666019696</c:v>
                </c:pt>
                <c:pt idx="57">
                  <c:v>1.0907197273456295</c:v>
                </c:pt>
                <c:pt idx="58">
                  <c:v>1.0852909632571994</c:v>
                </c:pt>
                <c:pt idx="59">
                  <c:v>1.1139119286115995</c:v>
                </c:pt>
                <c:pt idx="60">
                  <c:v>1.057110465116279</c:v>
                </c:pt>
                <c:pt idx="61">
                  <c:v>1.0575579841734561</c:v>
                </c:pt>
                <c:pt idx="62">
                  <c:v>1.0386042857004276</c:v>
                </c:pt>
                <c:pt idx="63">
                  <c:v>1.0845798231594395</c:v>
                </c:pt>
                <c:pt idx="64">
                  <c:v>1.0616688948130335</c:v>
                </c:pt>
                <c:pt idx="65">
                  <c:v>1.1088040523454292</c:v>
                </c:pt>
                <c:pt idx="66">
                  <c:v>1.1266053202366388</c:v>
                </c:pt>
                <c:pt idx="67">
                  <c:v>0.878887067123764</c:v>
                </c:pt>
                <c:pt idx="68">
                  <c:v>0.8559612215220552</c:v>
                </c:pt>
                <c:pt idx="69">
                  <c:v>0.8633972286736552</c:v>
                </c:pt>
                <c:pt idx="70">
                  <c:v>0.8588080842571278</c:v>
                </c:pt>
                <c:pt idx="71">
                  <c:v>1.1172334991555954</c:v>
                </c:pt>
                <c:pt idx="72">
                  <c:v>1.2322307712416023</c:v>
                </c:pt>
                <c:pt idx="73">
                  <c:v>1.1937783143136687</c:v>
                </c:pt>
                <c:pt idx="74">
                  <c:v>1.085034693877551</c:v>
                </c:pt>
                <c:pt idx="75">
                  <c:v>1.0710872531346791</c:v>
                </c:pt>
                <c:pt idx="76">
                  <c:v>1.0647282070392563</c:v>
                </c:pt>
                <c:pt idx="77">
                  <c:v>1.0803782644337745</c:v>
                </c:pt>
              </c:numCache>
            </c:numRef>
          </c:xVal>
          <c:yVal>
            <c:numRef>
              <c:f>Sheet1!$B$2:$B$79</c:f>
              <c:numCache>
                <c:formatCode>General</c:formatCode>
                <c:ptCount val="78"/>
                <c:pt idx="0">
                  <c:v>0.12679628064243448</c:v>
                </c:pt>
                <c:pt idx="1">
                  <c:v>0.1159678858162355</c:v>
                </c:pt>
                <c:pt idx="2">
                  <c:v>0.12362404741744284</c:v>
                </c:pt>
                <c:pt idx="3">
                  <c:v>0.11606313834726091</c:v>
                </c:pt>
                <c:pt idx="4">
                  <c:v>0.08379888268156424</c:v>
                </c:pt>
                <c:pt idx="5">
                  <c:v>0.06562847608453838</c:v>
                </c:pt>
                <c:pt idx="6">
                  <c:v>0.10665137614678899</c:v>
                </c:pt>
                <c:pt idx="7">
                  <c:v>0.05767012687427912</c:v>
                </c:pt>
                <c:pt idx="8">
                  <c:v>0.0981404958677686</c:v>
                </c:pt>
                <c:pt idx="9">
                  <c:v>0.13554502369668248</c:v>
                </c:pt>
                <c:pt idx="10">
                  <c:v>0.20219435736677116</c:v>
                </c:pt>
                <c:pt idx="11">
                  <c:v>0.1708542713567839</c:v>
                </c:pt>
                <c:pt idx="12">
                  <c:v>0.09586776859504133</c:v>
                </c:pt>
                <c:pt idx="13">
                  <c:v>0.09461235216819974</c:v>
                </c:pt>
                <c:pt idx="14">
                  <c:v>0.0945945945945946</c:v>
                </c:pt>
                <c:pt idx="15">
                  <c:v>0.12365591397849462</c:v>
                </c:pt>
                <c:pt idx="16">
                  <c:v>0.11380880121396054</c:v>
                </c:pt>
                <c:pt idx="17">
                  <c:v>0.1079734219269103</c:v>
                </c:pt>
                <c:pt idx="18">
                  <c:v>0.11544715447154472</c:v>
                </c:pt>
                <c:pt idx="19">
                  <c:v>0.07961783439490445</c:v>
                </c:pt>
                <c:pt idx="20">
                  <c:v>0.06711409395973154</c:v>
                </c:pt>
                <c:pt idx="21">
                  <c:v>0.08152173913043478</c:v>
                </c:pt>
                <c:pt idx="22">
                  <c:v>0.09880239520958084</c:v>
                </c:pt>
                <c:pt idx="23">
                  <c:v>0.08853575482406356</c:v>
                </c:pt>
                <c:pt idx="24">
                  <c:v>0.11285714285714285</c:v>
                </c:pt>
                <c:pt idx="25">
                  <c:v>0.07183098591549296</c:v>
                </c:pt>
                <c:pt idx="26">
                  <c:v>0.08157894736842106</c:v>
                </c:pt>
                <c:pt idx="27">
                  <c:v>0.063257065948856</c:v>
                </c:pt>
                <c:pt idx="28">
                  <c:v>0.06512890094979647</c:v>
                </c:pt>
                <c:pt idx="29">
                  <c:v>0.07085561497326204</c:v>
                </c:pt>
                <c:pt idx="30">
                  <c:v>0.07975460122699386</c:v>
                </c:pt>
                <c:pt idx="31">
                  <c:v>0.07621247113163972</c:v>
                </c:pt>
                <c:pt idx="32">
                  <c:v>0.08074534161490683</c:v>
                </c:pt>
                <c:pt idx="33">
                  <c:v>0.09006928406466513</c:v>
                </c:pt>
                <c:pt idx="34">
                  <c:v>0.09188361408882083</c:v>
                </c:pt>
                <c:pt idx="35">
                  <c:v>0.1087378640776699</c:v>
                </c:pt>
                <c:pt idx="36">
                  <c:v>0.06643356643356643</c:v>
                </c:pt>
                <c:pt idx="37">
                  <c:v>0.08079268292682927</c:v>
                </c:pt>
                <c:pt idx="38">
                  <c:v>0.1001788908765653</c:v>
                </c:pt>
                <c:pt idx="39">
                  <c:v>0.0919175911251981</c:v>
                </c:pt>
                <c:pt idx="40">
                  <c:v>0.17025089605734767</c:v>
                </c:pt>
                <c:pt idx="41">
                  <c:v>0.12698412698412698</c:v>
                </c:pt>
                <c:pt idx="42">
                  <c:v>0.1729490022172949</c:v>
                </c:pt>
                <c:pt idx="43">
                  <c:v>0.10353227771010962</c:v>
                </c:pt>
                <c:pt idx="44">
                  <c:v>0.09737417943107221</c:v>
                </c:pt>
                <c:pt idx="45">
                  <c:v>0.10837438423645321</c:v>
                </c:pt>
                <c:pt idx="46">
                  <c:v>0.09395348837209302</c:v>
                </c:pt>
                <c:pt idx="47">
                  <c:v>0.12075471698113208</c:v>
                </c:pt>
                <c:pt idx="48">
                  <c:v>0.12217194570135746</c:v>
                </c:pt>
                <c:pt idx="49">
                  <c:v>0.10771992818671454</c:v>
                </c:pt>
                <c:pt idx="50">
                  <c:v>0.10164333536214243</c:v>
                </c:pt>
                <c:pt idx="51">
                  <c:v>0.10879067508499271</c:v>
                </c:pt>
                <c:pt idx="52">
                  <c:v>0.13000520020800832</c:v>
                </c:pt>
                <c:pt idx="53">
                  <c:v>0.08483290488431877</c:v>
                </c:pt>
                <c:pt idx="54">
                  <c:v>0.08385481852315395</c:v>
                </c:pt>
                <c:pt idx="55">
                  <c:v>0.0880597014925373</c:v>
                </c:pt>
                <c:pt idx="56">
                  <c:v>0.12460063897763578</c:v>
                </c:pt>
                <c:pt idx="57">
                  <c:v>0.1490566037735849</c:v>
                </c:pt>
                <c:pt idx="58">
                  <c:v>0.141287284144427</c:v>
                </c:pt>
                <c:pt idx="59">
                  <c:v>0.13934426229508196</c:v>
                </c:pt>
                <c:pt idx="60">
                  <c:v>0.14988290398126464</c:v>
                </c:pt>
                <c:pt idx="61">
                  <c:v>0.1655328798185941</c:v>
                </c:pt>
                <c:pt idx="62">
                  <c:v>0.176056338028169</c:v>
                </c:pt>
                <c:pt idx="63">
                  <c:v>0.14678899082568808</c:v>
                </c:pt>
                <c:pt idx="64">
                  <c:v>0.14766355140186915</c:v>
                </c:pt>
                <c:pt idx="65">
                  <c:v>0.12173913043478261</c:v>
                </c:pt>
                <c:pt idx="66">
                  <c:v>0.10714285714285714</c:v>
                </c:pt>
                <c:pt idx="67">
                  <c:v>0.44359756097560976</c:v>
                </c:pt>
                <c:pt idx="68">
                  <c:v>0.4379001280409731</c:v>
                </c:pt>
                <c:pt idx="69">
                  <c:v>0.5090673575129534</c:v>
                </c:pt>
                <c:pt idx="70">
                  <c:v>0.48880597014925375</c:v>
                </c:pt>
                <c:pt idx="71">
                  <c:v>0.23450134770889489</c:v>
                </c:pt>
                <c:pt idx="72">
                  <c:v>0.12317666126418152</c:v>
                </c:pt>
                <c:pt idx="73">
                  <c:v>0.11653543307086614</c:v>
                </c:pt>
                <c:pt idx="74">
                  <c:v>0.20202020202020202</c:v>
                </c:pt>
                <c:pt idx="75">
                  <c:v>0.2365988909426987</c:v>
                </c:pt>
                <c:pt idx="76">
                  <c:v>0.18356643356643357</c:v>
                </c:pt>
                <c:pt idx="77">
                  <c:v>0.12956204379562045</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1.2072820635041004</c:v>
                </c:pt>
                <c:pt idx="1">
                  <c:v>1.2012578204901747</c:v>
                </c:pt>
                <c:pt idx="2">
                  <c:v>1.2878612867933905</c:v>
                </c:pt>
                <c:pt idx="3">
                  <c:v>1.161256389103496</c:v>
                </c:pt>
                <c:pt idx="4">
                  <c:v>1.2059838444043605</c:v>
                </c:pt>
                <c:pt idx="5">
                  <c:v>1.1673776531803446</c:v>
                </c:pt>
                <c:pt idx="6">
                  <c:v>1.1948771155647782</c:v>
                </c:pt>
                <c:pt idx="7">
                  <c:v>1.2546314293683685</c:v>
                </c:pt>
                <c:pt idx="8">
                  <c:v>1.2180705839183292</c:v>
                </c:pt>
                <c:pt idx="9">
                  <c:v>1.2043018744193672</c:v>
                </c:pt>
                <c:pt idx="10">
                  <c:v>1.1134069343286839</c:v>
                </c:pt>
                <c:pt idx="11">
                  <c:v>1.0599685658153242</c:v>
                </c:pt>
                <c:pt idx="12">
                  <c:v>1.049657032999201</c:v>
                </c:pt>
                <c:pt idx="13">
                  <c:v>1.0570540226931135</c:v>
                </c:pt>
                <c:pt idx="14">
                  <c:v>1.0620333298846514</c:v>
                </c:pt>
                <c:pt idx="15">
                  <c:v>1.0526574803149606</c:v>
                </c:pt>
                <c:pt idx="16">
                  <c:v>1.0643344401792934</c:v>
                </c:pt>
                <c:pt idx="17">
                  <c:v>1.0735741937013756</c:v>
                </c:pt>
                <c:pt idx="18">
                  <c:v>1.062347004655935</c:v>
                </c:pt>
                <c:pt idx="19">
                  <c:v>1.0447363400265548</c:v>
                </c:pt>
                <c:pt idx="20">
                  <c:v>1.1693856129226732</c:v>
                </c:pt>
                <c:pt idx="21">
                  <c:v>1.2192270799511435</c:v>
                </c:pt>
                <c:pt idx="22">
                  <c:v>1.172781680412304</c:v>
                </c:pt>
                <c:pt idx="23">
                  <c:v>1.1711208310552215</c:v>
                </c:pt>
                <c:pt idx="24">
                  <c:v>1.1872638599107437</c:v>
                </c:pt>
                <c:pt idx="25">
                  <c:v>1.196747238324401</c:v>
                </c:pt>
                <c:pt idx="26">
                  <c:v>1.2274611478385782</c:v>
                </c:pt>
                <c:pt idx="27">
                  <c:v>1.246931736725254</c:v>
                </c:pt>
                <c:pt idx="28">
                  <c:v>1.2115848753016893</c:v>
                </c:pt>
                <c:pt idx="29">
                  <c:v>1.181615536733051</c:v>
                </c:pt>
                <c:pt idx="30">
                  <c:v>1.2324364283424594</c:v>
                </c:pt>
                <c:pt idx="31">
                  <c:v>1.1026253807106599</c:v>
                </c:pt>
                <c:pt idx="32">
                  <c:v>1.0778757814703972</c:v>
                </c:pt>
                <c:pt idx="33">
                  <c:v>1.0334750162735191</c:v>
                </c:pt>
                <c:pt idx="34">
                  <c:v>1.0517320388349514</c:v>
                </c:pt>
                <c:pt idx="35">
                  <c:v>1.0931568643300889</c:v>
                </c:pt>
                <c:pt idx="36">
                  <c:v>1.089706122527404</c:v>
                </c:pt>
                <c:pt idx="37">
                  <c:v>1.0736995543377394</c:v>
                </c:pt>
                <c:pt idx="38">
                  <c:v>1.1152242999494826</c:v>
                </c:pt>
                <c:pt idx="39">
                  <c:v>1.0808607609194107</c:v>
                </c:pt>
                <c:pt idx="40">
                  <c:v>1.1118693484754263</c:v>
                </c:pt>
                <c:pt idx="41">
                  <c:v>1.136428594496835</c:v>
                </c:pt>
                <c:pt idx="42">
                  <c:v>1.0485632971604562</c:v>
                </c:pt>
                <c:pt idx="43">
                  <c:v>1.012899688795008</c:v>
                </c:pt>
                <c:pt idx="44">
                  <c:v>0.9959263148236877</c:v>
                </c:pt>
                <c:pt idx="45">
                  <c:v>0.9940002857965169</c:v>
                </c:pt>
                <c:pt idx="46">
                  <c:v>1.2422513687313903</c:v>
                </c:pt>
                <c:pt idx="47">
                  <c:v>1.2256543064725895</c:v>
                </c:pt>
                <c:pt idx="48">
                  <c:v>1.241831086712324</c:v>
                </c:pt>
                <c:pt idx="49">
                  <c:v>1.1227043381986292</c:v>
                </c:pt>
                <c:pt idx="50">
                  <c:v>1.081725139162937</c:v>
                </c:pt>
                <c:pt idx="51">
                  <c:v>1.1289818439066512</c:v>
                </c:pt>
              </c:numCache>
            </c:numRef>
          </c:xVal>
          <c:yVal>
            <c:numRef>
              <c:f>Sheet1!$B$82:$B$133</c:f>
              <c:numCache>
                <c:formatCode>General</c:formatCode>
                <c:ptCount val="52"/>
                <c:pt idx="0">
                  <c:v>0.1673728813559322</c:v>
                </c:pt>
                <c:pt idx="1">
                  <c:v>0.11350293542074363</c:v>
                </c:pt>
                <c:pt idx="2">
                  <c:v>0.08847736625514403</c:v>
                </c:pt>
                <c:pt idx="3">
                  <c:v>0.14596949891067537</c:v>
                </c:pt>
                <c:pt idx="4">
                  <c:v>0.11079545454545454</c:v>
                </c:pt>
                <c:pt idx="5">
                  <c:v>0.16129032258064516</c:v>
                </c:pt>
                <c:pt idx="6">
                  <c:v>0.11971830985915492</c:v>
                </c:pt>
                <c:pt idx="7">
                  <c:v>0.12658227848101267</c:v>
                </c:pt>
                <c:pt idx="8">
                  <c:v>0.1275626423690205</c:v>
                </c:pt>
                <c:pt idx="9">
                  <c:v>0.128</c:v>
                </c:pt>
                <c:pt idx="10">
                  <c:v>0.17167381974248927</c:v>
                </c:pt>
                <c:pt idx="11">
                  <c:v>0.125</c:v>
                </c:pt>
                <c:pt idx="12">
                  <c:v>0.16179775280898875</c:v>
                </c:pt>
                <c:pt idx="13">
                  <c:v>0.1705685618729097</c:v>
                </c:pt>
                <c:pt idx="14">
                  <c:v>0.16952789699570817</c:v>
                </c:pt>
                <c:pt idx="15">
                  <c:v>0.17204301075268819</c:v>
                </c:pt>
                <c:pt idx="16">
                  <c:v>0.16775599128540306</c:v>
                </c:pt>
                <c:pt idx="17">
                  <c:v>0.14352941176470588</c:v>
                </c:pt>
                <c:pt idx="18">
                  <c:v>0.14788732394366197</c:v>
                </c:pt>
                <c:pt idx="19">
                  <c:v>0.19291338582677164</c:v>
                </c:pt>
                <c:pt idx="20">
                  <c:v>0.15358361774744028</c:v>
                </c:pt>
                <c:pt idx="21">
                  <c:v>0.12168141592920353</c:v>
                </c:pt>
                <c:pt idx="22">
                  <c:v>0.11225658648339061</c:v>
                </c:pt>
                <c:pt idx="23">
                  <c:v>0.07979870596693027</c:v>
                </c:pt>
                <c:pt idx="24">
                  <c:v>0.1421759861291721</c:v>
                </c:pt>
                <c:pt idx="25">
                  <c:v>0.11344327836081959</c:v>
                </c:pt>
                <c:pt idx="26">
                  <c:v>0.10818713450292397</c:v>
                </c:pt>
                <c:pt idx="27">
                  <c:v>0.1346153846153846</c:v>
                </c:pt>
                <c:pt idx="28">
                  <c:v>0.10096153846153846</c:v>
                </c:pt>
                <c:pt idx="29">
                  <c:v>0.11580882352941177</c:v>
                </c:pt>
                <c:pt idx="30">
                  <c:v>0.09419152276295134</c:v>
                </c:pt>
                <c:pt idx="31">
                  <c:v>0.16350710900473933</c:v>
                </c:pt>
                <c:pt idx="32">
                  <c:v>0.2100371747211896</c:v>
                </c:pt>
                <c:pt idx="33">
                  <c:v>0.17027863777089783</c:v>
                </c:pt>
                <c:pt idx="34">
                  <c:v>0.17402597402597403</c:v>
                </c:pt>
                <c:pt idx="35">
                  <c:v>0.18546365914786966</c:v>
                </c:pt>
                <c:pt idx="36">
                  <c:v>0.12531969309462915</c:v>
                </c:pt>
                <c:pt idx="37">
                  <c:v>0.1346153846153846</c:v>
                </c:pt>
                <c:pt idx="38">
                  <c:v>0.1342925659472422</c:v>
                </c:pt>
                <c:pt idx="39">
                  <c:v>0.1564625850340136</c:v>
                </c:pt>
                <c:pt idx="40">
                  <c:v>0.1744186046511628</c:v>
                </c:pt>
                <c:pt idx="41">
                  <c:v>0.15766738660907129</c:v>
                </c:pt>
                <c:pt idx="42">
                  <c:v>0.20518867924528303</c:v>
                </c:pt>
                <c:pt idx="43">
                  <c:v>0.27111984282907664</c:v>
                </c:pt>
                <c:pt idx="44">
                  <c:v>0.28482328482328484</c:v>
                </c:pt>
                <c:pt idx="45">
                  <c:v>0.24807692307692308</c:v>
                </c:pt>
                <c:pt idx="46">
                  <c:v>0.10304449648711944</c:v>
                </c:pt>
                <c:pt idx="47">
                  <c:v>0.12705882352941175</c:v>
                </c:pt>
                <c:pt idx="48">
                  <c:v>0.11785714285714285</c:v>
                </c:pt>
                <c:pt idx="49">
                  <c:v>0.150278293135436</c:v>
                </c:pt>
                <c:pt idx="50">
                  <c:v>0.14065510597302505</c:v>
                </c:pt>
                <c:pt idx="51">
                  <c:v>0.11594202898550725</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8703938612254336</c:v>
                </c:pt>
              </c:numCache>
            </c:numRef>
          </c:xVal>
          <c:yVal>
            <c:numRef>
              <c:f>Sheet1!$B$136:$B$137</c:f>
              <c:numCache>
                <c:formatCode>General</c:formatCode>
                <c:ptCount val="2"/>
                <c:pt idx="0">
                  <c:v>0.2564780012788713</c:v>
                </c:pt>
                <c:pt idx="1">
                  <c:v>0.2564780012788713</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8703938612254336</c:v>
                </c:pt>
                <c:pt idx="1">
                  <c:v>0.8703938612254336</c:v>
                </c:pt>
              </c:numCache>
            </c:numRef>
          </c:xVal>
          <c:yVal>
            <c:numRef>
              <c:f>Sheet1!$B$140:$B$141</c:f>
              <c:numCache>
                <c:formatCode>General</c:formatCode>
                <c:ptCount val="2"/>
                <c:pt idx="0">
                  <c:v>0.25647800127887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1.0749023512892306</c:v>
                </c:pt>
              </c:numCache>
            </c:numRef>
          </c:xVal>
          <c:yVal>
            <c:numRef>
              <c:f>Sheet1!$B$144:$B$145</c:f>
              <c:numCache>
                <c:formatCode>General</c:formatCode>
                <c:ptCount val="2"/>
                <c:pt idx="0">
                  <c:v>0.1732763997874198</c:v>
                </c:pt>
                <c:pt idx="1">
                  <c:v>0.1732763997874198</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1.0749023512892306</c:v>
                </c:pt>
                <c:pt idx="1">
                  <c:v>1.0749023512892306</c:v>
                </c:pt>
              </c:numCache>
            </c:numRef>
          </c:xVal>
          <c:yVal>
            <c:numRef>
              <c:f>Sheet1!$B$148:$B$149</c:f>
              <c:numCache>
                <c:formatCode>General</c:formatCode>
                <c:ptCount val="2"/>
                <c:pt idx="0">
                  <c:v>0.17327639978741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1.0749023512892306</c:v>
                </c:pt>
              </c:numCache>
            </c:numRef>
          </c:xVal>
          <c:yVal>
            <c:numRef>
              <c:f>Sheet1!$B$152:$B$153</c:f>
              <c:numCache>
                <c:formatCode>General</c:formatCode>
                <c:ptCount val="2"/>
                <c:pt idx="0">
                  <c:v>0.17327639978741985</c:v>
                </c:pt>
                <c:pt idx="1">
                  <c:v>0.17327639978741985</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1.0749023512892306</c:v>
                </c:pt>
                <c:pt idx="1">
                  <c:v>1.0749023512892306</c:v>
                </c:pt>
              </c:numCache>
            </c:numRef>
          </c:xVal>
          <c:yVal>
            <c:numRef>
              <c:f>Sheet1!$B$156:$B$157</c:f>
              <c:numCache>
                <c:formatCode>General</c:formatCode>
                <c:ptCount val="2"/>
                <c:pt idx="0">
                  <c:v>0.173276399787419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1.2072820635041004</c:v>
                </c:pt>
                <c:pt idx="1">
                  <c:v>1.2012578204901747</c:v>
                </c:pt>
                <c:pt idx="2">
                  <c:v>1.2878612867933905</c:v>
                </c:pt>
                <c:pt idx="3">
                  <c:v>1.161256389103496</c:v>
                </c:pt>
                <c:pt idx="4">
                  <c:v>1.2059838444043605</c:v>
                </c:pt>
                <c:pt idx="5">
                  <c:v>1.1673776531803446</c:v>
                </c:pt>
                <c:pt idx="6">
                  <c:v>1.1948771155647782</c:v>
                </c:pt>
                <c:pt idx="7">
                  <c:v>1.2546314293683685</c:v>
                </c:pt>
                <c:pt idx="8">
                  <c:v>1.2180705839183292</c:v>
                </c:pt>
                <c:pt idx="9">
                  <c:v>1.2043018744193672</c:v>
                </c:pt>
                <c:pt idx="10">
                  <c:v>1.1134069343286839</c:v>
                </c:pt>
                <c:pt idx="11">
                  <c:v>1.0599685658153242</c:v>
                </c:pt>
                <c:pt idx="12">
                  <c:v>1.049657032999201</c:v>
                </c:pt>
                <c:pt idx="13">
                  <c:v>1.0570540226931135</c:v>
                </c:pt>
                <c:pt idx="14">
                  <c:v>1.0620333298846514</c:v>
                </c:pt>
                <c:pt idx="15">
                  <c:v>1.0526574803149606</c:v>
                </c:pt>
                <c:pt idx="16">
                  <c:v>1.0643344401792934</c:v>
                </c:pt>
                <c:pt idx="17">
                  <c:v>1.0735741937013756</c:v>
                </c:pt>
                <c:pt idx="18">
                  <c:v>1.062347004655935</c:v>
                </c:pt>
                <c:pt idx="19">
                  <c:v>1.0447363400265548</c:v>
                </c:pt>
                <c:pt idx="20">
                  <c:v>1.1693856129226732</c:v>
                </c:pt>
                <c:pt idx="21">
                  <c:v>1.2192270799511435</c:v>
                </c:pt>
                <c:pt idx="22">
                  <c:v>1.172781680412304</c:v>
                </c:pt>
                <c:pt idx="23">
                  <c:v>1.1711208310552215</c:v>
                </c:pt>
                <c:pt idx="24">
                  <c:v>1.1872638599107437</c:v>
                </c:pt>
                <c:pt idx="25">
                  <c:v>1.196747238324401</c:v>
                </c:pt>
                <c:pt idx="26">
                  <c:v>1.2274611478385782</c:v>
                </c:pt>
                <c:pt idx="27">
                  <c:v>1.246931736725254</c:v>
                </c:pt>
                <c:pt idx="28">
                  <c:v>1.2115848753016893</c:v>
                </c:pt>
                <c:pt idx="29">
                  <c:v>1.181615536733051</c:v>
                </c:pt>
                <c:pt idx="30">
                  <c:v>1.2324364283424594</c:v>
                </c:pt>
                <c:pt idx="31">
                  <c:v>1.1026253807106599</c:v>
                </c:pt>
                <c:pt idx="32">
                  <c:v>1.0778757814703972</c:v>
                </c:pt>
                <c:pt idx="33">
                  <c:v>1.0334750162735191</c:v>
                </c:pt>
                <c:pt idx="34">
                  <c:v>1.0517320388349514</c:v>
                </c:pt>
                <c:pt idx="35">
                  <c:v>1.0931568643300889</c:v>
                </c:pt>
                <c:pt idx="36">
                  <c:v>1.089706122527404</c:v>
                </c:pt>
                <c:pt idx="37">
                  <c:v>1.0736995543377394</c:v>
                </c:pt>
                <c:pt idx="38">
                  <c:v>1.1152242999494826</c:v>
                </c:pt>
                <c:pt idx="39">
                  <c:v>1.0808607609194107</c:v>
                </c:pt>
                <c:pt idx="40">
                  <c:v>1.1118693484754263</c:v>
                </c:pt>
                <c:pt idx="41">
                  <c:v>1.136428594496835</c:v>
                </c:pt>
                <c:pt idx="42">
                  <c:v>1.0485632971604562</c:v>
                </c:pt>
                <c:pt idx="43">
                  <c:v>1.012899688795008</c:v>
                </c:pt>
                <c:pt idx="44">
                  <c:v>0.9959263148236877</c:v>
                </c:pt>
                <c:pt idx="45">
                  <c:v>0.9940002857965169</c:v>
                </c:pt>
                <c:pt idx="46">
                  <c:v>1.2422513687313903</c:v>
                </c:pt>
                <c:pt idx="47">
                  <c:v>1.2256543064725895</c:v>
                </c:pt>
                <c:pt idx="48">
                  <c:v>1.241831086712324</c:v>
                </c:pt>
                <c:pt idx="49">
                  <c:v>1.1227043381986292</c:v>
                </c:pt>
                <c:pt idx="50">
                  <c:v>1.081725139162937</c:v>
                </c:pt>
                <c:pt idx="51">
                  <c:v>1.1289818439066512</c:v>
                </c:pt>
                <c:pt idx="52">
                  <c:v>1.0749023512892306</c:v>
                </c:pt>
                <c:pt idx="53">
                  <c:v>0.8703938612254336</c:v>
                </c:pt>
                <c:pt idx="54">
                  <c:v>1.0749023512892306</c:v>
                </c:pt>
              </c:numCache>
            </c:numRef>
          </c:xVal>
          <c:yVal>
            <c:numRef>
              <c:f>Sheet1!$B$160:$B$214</c:f>
              <c:numCache>
                <c:formatCode>General</c:formatCode>
                <c:ptCount val="55"/>
                <c:pt idx="0">
                  <c:v>0.11941944716008046</c:v>
                </c:pt>
                <c:pt idx="1">
                  <c:v>0.1218703315530753</c:v>
                </c:pt>
                <c:pt idx="2">
                  <c:v>0.0866368452127737</c:v>
                </c:pt>
                <c:pt idx="3">
                  <c:v>0.1381443901620057</c:v>
                </c:pt>
                <c:pt idx="4">
                  <c:v>0.11994761060283754</c:v>
                </c:pt>
                <c:pt idx="5">
                  <c:v>0.13565403401988646</c:v>
                </c:pt>
                <c:pt idx="6">
                  <c:v>0.12446623780748939</c:v>
                </c:pt>
                <c:pt idx="7">
                  <c:v>0.10015597761765305</c:v>
                </c:pt>
                <c:pt idx="8">
                  <c:v>0.11503027888688533</c:v>
                </c:pt>
                <c:pt idx="9">
                  <c:v>0.12063189806869451</c:v>
                </c:pt>
                <c:pt idx="10">
                  <c:v>0.1576113143298738</c:v>
                </c:pt>
                <c:pt idx="11">
                  <c:v>0.17935201487494595</c:v>
                </c:pt>
                <c:pt idx="12">
                  <c:v>0.1835471269891935</c:v>
                </c:pt>
                <c:pt idx="13">
                  <c:v>0.18053775858323</c:v>
                </c:pt>
                <c:pt idx="14">
                  <c:v>0.1785119926479155</c:v>
                </c:pt>
                <c:pt idx="15">
                  <c:v>0.18232643428453338</c:v>
                </c:pt>
                <c:pt idx="16">
                  <c:v>0.17757581605366773</c:v>
                </c:pt>
                <c:pt idx="17">
                  <c:v>0.17381674331207297</c:v>
                </c:pt>
                <c:pt idx="18">
                  <c:v>0.17838437817425667</c:v>
                </c:pt>
                <c:pt idx="19">
                  <c:v>0.1855490464970055</c:v>
                </c:pt>
                <c:pt idx="20">
                  <c:v>0.13483712188953928</c:v>
                </c:pt>
                <c:pt idx="21">
                  <c:v>0.11455977361828429</c:v>
                </c:pt>
                <c:pt idx="22">
                  <c:v>0.13345547629711335</c:v>
                </c:pt>
                <c:pt idx="23">
                  <c:v>0.13413117111204353</c:v>
                </c:pt>
                <c:pt idx="24">
                  <c:v>0.12756359118769334</c:v>
                </c:pt>
                <c:pt idx="25">
                  <c:v>0.12370540284881504</c:v>
                </c:pt>
                <c:pt idx="26">
                  <c:v>0.11120985090940222</c:v>
                </c:pt>
                <c:pt idx="27">
                  <c:v>0.10328849675511886</c:v>
                </c:pt>
                <c:pt idx="28">
                  <c:v>0.11766890451823692</c:v>
                </c:pt>
                <c:pt idx="29">
                  <c:v>0.12986153751734802</c:v>
                </c:pt>
                <c:pt idx="30">
                  <c:v>0.10918572317923814</c:v>
                </c:pt>
                <c:pt idx="31">
                  <c:v>0.1619976482532513</c:v>
                </c:pt>
                <c:pt idx="32">
                  <c:v>0.1720666986502255</c:v>
                </c:pt>
                <c:pt idx="33">
                  <c:v>0.19013056861803823</c:v>
                </c:pt>
                <c:pt idx="34">
                  <c:v>0.18270293803359228</c:v>
                </c:pt>
                <c:pt idx="35">
                  <c:v>0.1658497901685615</c:v>
                </c:pt>
                <c:pt idx="36">
                  <c:v>0.16725367928938628</c:v>
                </c:pt>
                <c:pt idx="37">
                  <c:v>0.17376574197855277</c:v>
                </c:pt>
                <c:pt idx="38">
                  <c:v>0.156871942922365</c:v>
                </c:pt>
                <c:pt idx="39">
                  <c:v>0.1708522988446256</c:v>
                </c:pt>
                <c:pt idx="40">
                  <c:v>0.15823686100219886</c:v>
                </c:pt>
                <c:pt idx="41">
                  <c:v>0.14824525331996358</c:v>
                </c:pt>
                <c:pt idx="42">
                  <c:v>0.18399209909457542</c:v>
                </c:pt>
                <c:pt idx="43">
                  <c:v>0.19850137120373612</c:v>
                </c:pt>
                <c:pt idx="44">
                  <c:v>0.20540676616649106</c:v>
                </c:pt>
                <c:pt idx="45">
                  <c:v>0.20619034585811968</c:v>
                </c:pt>
                <c:pt idx="46">
                  <c:v>0.1051926431919602</c:v>
                </c:pt>
                <c:pt idx="47">
                  <c:v>0.11194494066163874</c:v>
                </c:pt>
                <c:pt idx="48">
                  <c:v>0.10536362942853883</c:v>
                </c:pt>
                <c:pt idx="49">
                  <c:v>0.15382878729908422</c:v>
                </c:pt>
                <c:pt idx="50">
                  <c:v>0.1705006378738106</c:v>
                </c:pt>
                <c:pt idx="51">
                  <c:v>0.15127486629504067</c:v>
                </c:pt>
                <c:pt idx="52">
                  <c:v>0.17327639978741982</c:v>
                </c:pt>
                <c:pt idx="53">
                  <c:v>0.2564780012788713</c:v>
                </c:pt>
                <c:pt idx="54">
                  <c:v>0.173276399787419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Malard</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08808290155441"/>
          <c:min val="0.04613610149942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50.8467</c:v>
                </c:pt>
                <c:pt idx="1">
                  <c:v>51.8</c:v>
                </c:pt>
                <c:pt idx="2">
                  <c:v>50.8082</c:v>
                </c:pt>
                <c:pt idx="3">
                  <c:v>51.208</c:v>
                </c:pt>
                <c:pt idx="4">
                  <c:v>60.6167</c:v>
                </c:pt>
                <c:pt idx="5">
                  <c:v>61.5593</c:v>
                </c:pt>
                <c:pt idx="6">
                  <c:v>59.5484</c:v>
                </c:pt>
                <c:pt idx="7">
                  <c:v>57.56</c:v>
                </c:pt>
                <c:pt idx="8">
                  <c:v>64.2105</c:v>
                </c:pt>
                <c:pt idx="9">
                  <c:v>57.3846</c:v>
                </c:pt>
                <c:pt idx="10">
                  <c:v>60.2636</c:v>
                </c:pt>
                <c:pt idx="11">
                  <c:v>60.3333</c:v>
                </c:pt>
                <c:pt idx="12">
                  <c:v>61.9655</c:v>
                </c:pt>
                <c:pt idx="13">
                  <c:v>59.3194</c:v>
                </c:pt>
                <c:pt idx="14">
                  <c:v>61.254</c:v>
                </c:pt>
                <c:pt idx="15">
                  <c:v>58.6522</c:v>
                </c:pt>
                <c:pt idx="16">
                  <c:v>58.5467</c:v>
                </c:pt>
                <c:pt idx="17">
                  <c:v>58.7846</c:v>
                </c:pt>
                <c:pt idx="18">
                  <c:v>58.7887</c:v>
                </c:pt>
                <c:pt idx="19">
                  <c:v>62.18</c:v>
                </c:pt>
                <c:pt idx="20">
                  <c:v>59.0167</c:v>
                </c:pt>
                <c:pt idx="21">
                  <c:v>59.9333</c:v>
                </c:pt>
                <c:pt idx="22">
                  <c:v>62.6515</c:v>
                </c:pt>
                <c:pt idx="23">
                  <c:v>63.7179</c:v>
                </c:pt>
                <c:pt idx="24">
                  <c:v>59.038</c:v>
                </c:pt>
                <c:pt idx="25">
                  <c:v>63.549</c:v>
                </c:pt>
                <c:pt idx="26">
                  <c:v>60.6613</c:v>
                </c:pt>
                <c:pt idx="27">
                  <c:v>61.0426</c:v>
                </c:pt>
                <c:pt idx="28">
                  <c:v>58.7708</c:v>
                </c:pt>
                <c:pt idx="29">
                  <c:v>62.0</c:v>
                </c:pt>
                <c:pt idx="30">
                  <c:v>64.2051</c:v>
                </c:pt>
                <c:pt idx="31">
                  <c:v>57.1515</c:v>
                </c:pt>
                <c:pt idx="32">
                  <c:v>60.4615</c:v>
                </c:pt>
                <c:pt idx="33">
                  <c:v>60.1538</c:v>
                </c:pt>
                <c:pt idx="34">
                  <c:v>59.7167</c:v>
                </c:pt>
                <c:pt idx="35">
                  <c:v>63.7143</c:v>
                </c:pt>
                <c:pt idx="36">
                  <c:v>61.1842</c:v>
                </c:pt>
                <c:pt idx="37">
                  <c:v>60.2075</c:v>
                </c:pt>
                <c:pt idx="38">
                  <c:v>62.4643</c:v>
                </c:pt>
                <c:pt idx="39">
                  <c:v>60.4483</c:v>
                </c:pt>
                <c:pt idx="40">
                  <c:v>55.6947</c:v>
                </c:pt>
                <c:pt idx="41">
                  <c:v>52.375</c:v>
                </c:pt>
                <c:pt idx="42">
                  <c:v>58.1026</c:v>
                </c:pt>
                <c:pt idx="43">
                  <c:v>54.0941</c:v>
                </c:pt>
                <c:pt idx="44">
                  <c:v>54.4494</c:v>
                </c:pt>
                <c:pt idx="45">
                  <c:v>53.7614</c:v>
                </c:pt>
                <c:pt idx="46">
                  <c:v>55.1881</c:v>
                </c:pt>
                <c:pt idx="47">
                  <c:v>52.8281</c:v>
                </c:pt>
                <c:pt idx="48">
                  <c:v>54.8889</c:v>
                </c:pt>
                <c:pt idx="49">
                  <c:v>55.0</c:v>
                </c:pt>
                <c:pt idx="50">
                  <c:v>56.9341</c:v>
                </c:pt>
                <c:pt idx="51">
                  <c:v>57.1116</c:v>
                </c:pt>
                <c:pt idx="52">
                  <c:v>55.388</c:v>
                </c:pt>
                <c:pt idx="53">
                  <c:v>54.4091</c:v>
                </c:pt>
                <c:pt idx="54">
                  <c:v>57.1493</c:v>
                </c:pt>
                <c:pt idx="55">
                  <c:v>56.2203</c:v>
                </c:pt>
                <c:pt idx="56">
                  <c:v>54.4744</c:v>
                </c:pt>
                <c:pt idx="57">
                  <c:v>54.4051</c:v>
                </c:pt>
                <c:pt idx="58">
                  <c:v>54.6444</c:v>
                </c:pt>
                <c:pt idx="59">
                  <c:v>56.6471</c:v>
                </c:pt>
                <c:pt idx="60">
                  <c:v>54.5469</c:v>
                </c:pt>
                <c:pt idx="61">
                  <c:v>54.2192</c:v>
                </c:pt>
                <c:pt idx="62">
                  <c:v>53.5333</c:v>
                </c:pt>
                <c:pt idx="63">
                  <c:v>55.5781</c:v>
                </c:pt>
                <c:pt idx="64">
                  <c:v>53.6835</c:v>
                </c:pt>
                <c:pt idx="65">
                  <c:v>56.125</c:v>
                </c:pt>
                <c:pt idx="66">
                  <c:v>57.1875</c:v>
                </c:pt>
                <c:pt idx="67">
                  <c:v>44.2234</c:v>
                </c:pt>
                <c:pt idx="68">
                  <c:v>44.1462</c:v>
                </c:pt>
                <c:pt idx="69">
                  <c:v>44.0153</c:v>
                </c:pt>
                <c:pt idx="70">
                  <c:v>43.7634</c:v>
                </c:pt>
                <c:pt idx="71">
                  <c:v>51.1379</c:v>
                </c:pt>
                <c:pt idx="72">
                  <c:v>56.5658</c:v>
                </c:pt>
                <c:pt idx="73">
                  <c:v>54.7838</c:v>
                </c:pt>
                <c:pt idx="74">
                  <c:v>53.1667</c:v>
                </c:pt>
                <c:pt idx="75">
                  <c:v>53.7734</c:v>
                </c:pt>
                <c:pt idx="76">
                  <c:v>54.2857</c:v>
                </c:pt>
                <c:pt idx="77">
                  <c:v>55.3521</c:v>
                </c:pt>
              </c:numCache>
            </c:numRef>
          </c:xVal>
          <c:yVal>
            <c:numRef>
              <c:f>Sheet1!$B$2:$B$79</c:f>
              <c:numCache>
                <c:formatCode>General</c:formatCode>
                <c:ptCount val="78"/>
                <c:pt idx="0">
                  <c:v>0.12679628064243448</c:v>
                </c:pt>
                <c:pt idx="1">
                  <c:v>0.1159678858162355</c:v>
                </c:pt>
                <c:pt idx="2">
                  <c:v>0.12362404741744284</c:v>
                </c:pt>
                <c:pt idx="3">
                  <c:v>0.11606313834726091</c:v>
                </c:pt>
                <c:pt idx="4">
                  <c:v>0.08379888268156424</c:v>
                </c:pt>
                <c:pt idx="5">
                  <c:v>0.06562847608453838</c:v>
                </c:pt>
                <c:pt idx="6">
                  <c:v>0.10665137614678899</c:v>
                </c:pt>
                <c:pt idx="7">
                  <c:v>0.05767012687427912</c:v>
                </c:pt>
                <c:pt idx="8">
                  <c:v>0.0981404958677686</c:v>
                </c:pt>
                <c:pt idx="9">
                  <c:v>0.13554502369668248</c:v>
                </c:pt>
                <c:pt idx="10">
                  <c:v>0.20219435736677116</c:v>
                </c:pt>
                <c:pt idx="11">
                  <c:v>0.1708542713567839</c:v>
                </c:pt>
                <c:pt idx="12">
                  <c:v>0.09586776859504133</c:v>
                </c:pt>
                <c:pt idx="13">
                  <c:v>0.09461235216819974</c:v>
                </c:pt>
                <c:pt idx="14">
                  <c:v>0.0945945945945946</c:v>
                </c:pt>
                <c:pt idx="15">
                  <c:v>0.12365591397849462</c:v>
                </c:pt>
                <c:pt idx="16">
                  <c:v>0.11380880121396054</c:v>
                </c:pt>
                <c:pt idx="17">
                  <c:v>0.1079734219269103</c:v>
                </c:pt>
                <c:pt idx="18">
                  <c:v>0.11544715447154472</c:v>
                </c:pt>
                <c:pt idx="19">
                  <c:v>0.07961783439490445</c:v>
                </c:pt>
                <c:pt idx="20">
                  <c:v>0.06711409395973154</c:v>
                </c:pt>
                <c:pt idx="21">
                  <c:v>0.08152173913043478</c:v>
                </c:pt>
                <c:pt idx="22">
                  <c:v>0.09880239520958084</c:v>
                </c:pt>
                <c:pt idx="23">
                  <c:v>0.08853575482406356</c:v>
                </c:pt>
                <c:pt idx="24">
                  <c:v>0.11285714285714285</c:v>
                </c:pt>
                <c:pt idx="25">
                  <c:v>0.07183098591549296</c:v>
                </c:pt>
                <c:pt idx="26">
                  <c:v>0.08157894736842106</c:v>
                </c:pt>
                <c:pt idx="27">
                  <c:v>0.063257065948856</c:v>
                </c:pt>
                <c:pt idx="28">
                  <c:v>0.06512890094979647</c:v>
                </c:pt>
                <c:pt idx="29">
                  <c:v>0.07085561497326204</c:v>
                </c:pt>
                <c:pt idx="30">
                  <c:v>0.07975460122699386</c:v>
                </c:pt>
                <c:pt idx="31">
                  <c:v>0.07621247113163972</c:v>
                </c:pt>
                <c:pt idx="32">
                  <c:v>0.08074534161490683</c:v>
                </c:pt>
                <c:pt idx="33">
                  <c:v>0.09006928406466513</c:v>
                </c:pt>
                <c:pt idx="34">
                  <c:v>0.09188361408882083</c:v>
                </c:pt>
                <c:pt idx="35">
                  <c:v>0.1087378640776699</c:v>
                </c:pt>
                <c:pt idx="36">
                  <c:v>0.06643356643356643</c:v>
                </c:pt>
                <c:pt idx="37">
                  <c:v>0.08079268292682927</c:v>
                </c:pt>
                <c:pt idx="38">
                  <c:v>0.1001788908765653</c:v>
                </c:pt>
                <c:pt idx="39">
                  <c:v>0.0919175911251981</c:v>
                </c:pt>
                <c:pt idx="40">
                  <c:v>0.17025089605734767</c:v>
                </c:pt>
                <c:pt idx="41">
                  <c:v>0.12698412698412698</c:v>
                </c:pt>
                <c:pt idx="42">
                  <c:v>0.1729490022172949</c:v>
                </c:pt>
                <c:pt idx="43">
                  <c:v>0.10353227771010962</c:v>
                </c:pt>
                <c:pt idx="44">
                  <c:v>0.09737417943107221</c:v>
                </c:pt>
                <c:pt idx="45">
                  <c:v>0.10837438423645321</c:v>
                </c:pt>
                <c:pt idx="46">
                  <c:v>0.09395348837209302</c:v>
                </c:pt>
                <c:pt idx="47">
                  <c:v>0.12075471698113208</c:v>
                </c:pt>
                <c:pt idx="48">
                  <c:v>0.12217194570135746</c:v>
                </c:pt>
                <c:pt idx="49">
                  <c:v>0.10771992818671454</c:v>
                </c:pt>
                <c:pt idx="50">
                  <c:v>0.10164333536214243</c:v>
                </c:pt>
                <c:pt idx="51">
                  <c:v>0.10879067508499271</c:v>
                </c:pt>
                <c:pt idx="52">
                  <c:v>0.13000520020800832</c:v>
                </c:pt>
                <c:pt idx="53">
                  <c:v>0.08483290488431877</c:v>
                </c:pt>
                <c:pt idx="54">
                  <c:v>0.08385481852315395</c:v>
                </c:pt>
                <c:pt idx="55">
                  <c:v>0.0880597014925373</c:v>
                </c:pt>
                <c:pt idx="56">
                  <c:v>0.12460063897763578</c:v>
                </c:pt>
                <c:pt idx="57">
                  <c:v>0.1490566037735849</c:v>
                </c:pt>
                <c:pt idx="58">
                  <c:v>0.141287284144427</c:v>
                </c:pt>
                <c:pt idx="59">
                  <c:v>0.13934426229508196</c:v>
                </c:pt>
                <c:pt idx="60">
                  <c:v>0.14988290398126464</c:v>
                </c:pt>
                <c:pt idx="61">
                  <c:v>0.1655328798185941</c:v>
                </c:pt>
                <c:pt idx="62">
                  <c:v>0.176056338028169</c:v>
                </c:pt>
                <c:pt idx="63">
                  <c:v>0.14678899082568808</c:v>
                </c:pt>
                <c:pt idx="64">
                  <c:v>0.14766355140186915</c:v>
                </c:pt>
                <c:pt idx="65">
                  <c:v>0.12173913043478261</c:v>
                </c:pt>
                <c:pt idx="66">
                  <c:v>0.10714285714285714</c:v>
                </c:pt>
                <c:pt idx="67">
                  <c:v>0.44359756097560976</c:v>
                </c:pt>
                <c:pt idx="68">
                  <c:v>0.4379001280409731</c:v>
                </c:pt>
                <c:pt idx="69">
                  <c:v>0.5090673575129534</c:v>
                </c:pt>
                <c:pt idx="70">
                  <c:v>0.48880597014925375</c:v>
                </c:pt>
                <c:pt idx="71">
                  <c:v>0.23450134770889489</c:v>
                </c:pt>
                <c:pt idx="72">
                  <c:v>0.12317666126418152</c:v>
                </c:pt>
                <c:pt idx="73">
                  <c:v>0.11653543307086614</c:v>
                </c:pt>
                <c:pt idx="74">
                  <c:v>0.20202020202020202</c:v>
                </c:pt>
                <c:pt idx="75">
                  <c:v>0.2365988909426987</c:v>
                </c:pt>
                <c:pt idx="76">
                  <c:v>0.18356643356643357</c:v>
                </c:pt>
                <c:pt idx="77">
                  <c:v>0.12956204379562045</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55.7215</c:v>
                </c:pt>
                <c:pt idx="1">
                  <c:v>55.0862</c:v>
                </c:pt>
                <c:pt idx="2">
                  <c:v>59.093</c:v>
                </c:pt>
                <c:pt idx="3">
                  <c:v>53.209</c:v>
                </c:pt>
                <c:pt idx="4">
                  <c:v>55.359</c:v>
                </c:pt>
                <c:pt idx="5">
                  <c:v>53.8</c:v>
                </c:pt>
                <c:pt idx="6">
                  <c:v>54.5882</c:v>
                </c:pt>
                <c:pt idx="7">
                  <c:v>57.125</c:v>
                </c:pt>
                <c:pt idx="8">
                  <c:v>55.7679</c:v>
                </c:pt>
                <c:pt idx="9">
                  <c:v>55.0938</c:v>
                </c:pt>
                <c:pt idx="10">
                  <c:v>55.125</c:v>
                </c:pt>
                <c:pt idx="11">
                  <c:v>53.9524</c:v>
                </c:pt>
                <c:pt idx="12">
                  <c:v>53.0694</c:v>
                </c:pt>
                <c:pt idx="13">
                  <c:v>54.2941</c:v>
                </c:pt>
                <c:pt idx="14">
                  <c:v>54.4051</c:v>
                </c:pt>
                <c:pt idx="15">
                  <c:v>53.475</c:v>
                </c:pt>
                <c:pt idx="16">
                  <c:v>54.2338</c:v>
                </c:pt>
                <c:pt idx="17">
                  <c:v>54.3279</c:v>
                </c:pt>
                <c:pt idx="18">
                  <c:v>54.4643</c:v>
                </c:pt>
                <c:pt idx="19">
                  <c:v>53.6633</c:v>
                </c:pt>
                <c:pt idx="20">
                  <c:v>54.7</c:v>
                </c:pt>
                <c:pt idx="21">
                  <c:v>55.8</c:v>
                </c:pt>
                <c:pt idx="22">
                  <c:v>53.9082</c:v>
                </c:pt>
                <c:pt idx="23">
                  <c:v>53.5495</c:v>
                </c:pt>
                <c:pt idx="24">
                  <c:v>54.4573</c:v>
                </c:pt>
                <c:pt idx="25">
                  <c:v>54.7093</c:v>
                </c:pt>
                <c:pt idx="26">
                  <c:v>56.0541</c:v>
                </c:pt>
                <c:pt idx="27">
                  <c:v>57.2308</c:v>
                </c:pt>
                <c:pt idx="28">
                  <c:v>55.5714</c:v>
                </c:pt>
                <c:pt idx="29">
                  <c:v>54.0159</c:v>
                </c:pt>
                <c:pt idx="30">
                  <c:v>56.5167</c:v>
                </c:pt>
                <c:pt idx="31">
                  <c:v>54.3043</c:v>
                </c:pt>
                <c:pt idx="32">
                  <c:v>54.6372</c:v>
                </c:pt>
                <c:pt idx="33">
                  <c:v>53.3455</c:v>
                </c:pt>
                <c:pt idx="34">
                  <c:v>54.1642</c:v>
                </c:pt>
                <c:pt idx="35">
                  <c:v>55.4459</c:v>
                </c:pt>
                <c:pt idx="36">
                  <c:v>56.7143</c:v>
                </c:pt>
                <c:pt idx="37">
                  <c:v>53.9184</c:v>
                </c:pt>
                <c:pt idx="38">
                  <c:v>55.4107</c:v>
                </c:pt>
                <c:pt idx="39">
                  <c:v>53.7391</c:v>
                </c:pt>
                <c:pt idx="40">
                  <c:v>54.5333</c:v>
                </c:pt>
                <c:pt idx="41">
                  <c:v>56.3014</c:v>
                </c:pt>
                <c:pt idx="42">
                  <c:v>52.023</c:v>
                </c:pt>
                <c:pt idx="43">
                  <c:v>50.2536</c:v>
                </c:pt>
                <c:pt idx="44">
                  <c:v>48.8467</c:v>
                </c:pt>
                <c:pt idx="45">
                  <c:v>49.3876</c:v>
                </c:pt>
                <c:pt idx="46">
                  <c:v>55.1136</c:v>
                </c:pt>
                <c:pt idx="47">
                  <c:v>54.0</c:v>
                </c:pt>
                <c:pt idx="48">
                  <c:v>54.8333</c:v>
                </c:pt>
                <c:pt idx="49">
                  <c:v>53.1358</c:v>
                </c:pt>
                <c:pt idx="50">
                  <c:v>53.9452</c:v>
                </c:pt>
                <c:pt idx="51">
                  <c:v>55.6964</c:v>
                </c:pt>
              </c:numCache>
            </c:numRef>
          </c:xVal>
          <c:yVal>
            <c:numRef>
              <c:f>Sheet1!$B$82:$B$133</c:f>
              <c:numCache>
                <c:formatCode>General</c:formatCode>
                <c:ptCount val="52"/>
                <c:pt idx="0">
                  <c:v>0.1673728813559322</c:v>
                </c:pt>
                <c:pt idx="1">
                  <c:v>0.11350293542074363</c:v>
                </c:pt>
                <c:pt idx="2">
                  <c:v>0.08847736625514403</c:v>
                </c:pt>
                <c:pt idx="3">
                  <c:v>0.14596949891067537</c:v>
                </c:pt>
                <c:pt idx="4">
                  <c:v>0.11079545454545454</c:v>
                </c:pt>
                <c:pt idx="5">
                  <c:v>0.16129032258064516</c:v>
                </c:pt>
                <c:pt idx="6">
                  <c:v>0.11971830985915492</c:v>
                </c:pt>
                <c:pt idx="7">
                  <c:v>0.12658227848101267</c:v>
                </c:pt>
                <c:pt idx="8">
                  <c:v>0.1275626423690205</c:v>
                </c:pt>
                <c:pt idx="9">
                  <c:v>0.128</c:v>
                </c:pt>
                <c:pt idx="10">
                  <c:v>0.17167381974248927</c:v>
                </c:pt>
                <c:pt idx="11">
                  <c:v>0.125</c:v>
                </c:pt>
                <c:pt idx="12">
                  <c:v>0.16179775280898875</c:v>
                </c:pt>
                <c:pt idx="13">
                  <c:v>0.1705685618729097</c:v>
                </c:pt>
                <c:pt idx="14">
                  <c:v>0.16952789699570817</c:v>
                </c:pt>
                <c:pt idx="15">
                  <c:v>0.17204301075268819</c:v>
                </c:pt>
                <c:pt idx="16">
                  <c:v>0.16775599128540306</c:v>
                </c:pt>
                <c:pt idx="17">
                  <c:v>0.14352941176470588</c:v>
                </c:pt>
                <c:pt idx="18">
                  <c:v>0.14788732394366197</c:v>
                </c:pt>
                <c:pt idx="19">
                  <c:v>0.19291338582677164</c:v>
                </c:pt>
                <c:pt idx="20">
                  <c:v>0.15358361774744028</c:v>
                </c:pt>
                <c:pt idx="21">
                  <c:v>0.12168141592920353</c:v>
                </c:pt>
                <c:pt idx="22">
                  <c:v>0.11225658648339061</c:v>
                </c:pt>
                <c:pt idx="23">
                  <c:v>0.07979870596693027</c:v>
                </c:pt>
                <c:pt idx="24">
                  <c:v>0.1421759861291721</c:v>
                </c:pt>
                <c:pt idx="25">
                  <c:v>0.11344327836081959</c:v>
                </c:pt>
                <c:pt idx="26">
                  <c:v>0.10818713450292397</c:v>
                </c:pt>
                <c:pt idx="27">
                  <c:v>0.1346153846153846</c:v>
                </c:pt>
                <c:pt idx="28">
                  <c:v>0.10096153846153846</c:v>
                </c:pt>
                <c:pt idx="29">
                  <c:v>0.11580882352941177</c:v>
                </c:pt>
                <c:pt idx="30">
                  <c:v>0.09419152276295134</c:v>
                </c:pt>
                <c:pt idx="31">
                  <c:v>0.16350710900473933</c:v>
                </c:pt>
                <c:pt idx="32">
                  <c:v>0.2100371747211896</c:v>
                </c:pt>
                <c:pt idx="33">
                  <c:v>0.17027863777089783</c:v>
                </c:pt>
                <c:pt idx="34">
                  <c:v>0.17402597402597403</c:v>
                </c:pt>
                <c:pt idx="35">
                  <c:v>0.18546365914786966</c:v>
                </c:pt>
                <c:pt idx="36">
                  <c:v>0.12531969309462915</c:v>
                </c:pt>
                <c:pt idx="37">
                  <c:v>0.1346153846153846</c:v>
                </c:pt>
                <c:pt idx="38">
                  <c:v>0.1342925659472422</c:v>
                </c:pt>
                <c:pt idx="39">
                  <c:v>0.1564625850340136</c:v>
                </c:pt>
                <c:pt idx="40">
                  <c:v>0.1744186046511628</c:v>
                </c:pt>
                <c:pt idx="41">
                  <c:v>0.15766738660907129</c:v>
                </c:pt>
                <c:pt idx="42">
                  <c:v>0.20518867924528303</c:v>
                </c:pt>
                <c:pt idx="43">
                  <c:v>0.27111984282907664</c:v>
                </c:pt>
                <c:pt idx="44">
                  <c:v>0.28482328482328484</c:v>
                </c:pt>
                <c:pt idx="45">
                  <c:v>0.24807692307692308</c:v>
                </c:pt>
                <c:pt idx="46">
                  <c:v>0.10304449648711944</c:v>
                </c:pt>
                <c:pt idx="47">
                  <c:v>0.12705882352941175</c:v>
                </c:pt>
                <c:pt idx="48">
                  <c:v>0.11785714285714285</c:v>
                </c:pt>
                <c:pt idx="49">
                  <c:v>0.150278293135436</c:v>
                </c:pt>
                <c:pt idx="50">
                  <c:v>0.14065510597302505</c:v>
                </c:pt>
                <c:pt idx="51">
                  <c:v>0.11594202898550725</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48.260210800955335</c:v>
                </c:pt>
              </c:numCache>
            </c:numRef>
          </c:xVal>
          <c:yVal>
            <c:numRef>
              <c:f>Sheet1!$B$136:$B$137</c:f>
              <c:numCache>
                <c:formatCode>General</c:formatCode>
                <c:ptCount val="2"/>
                <c:pt idx="0">
                  <c:v>0.2564780012788713</c:v>
                </c:pt>
                <c:pt idx="1">
                  <c:v>0.2564780012788713</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48.260210800955335</c:v>
                </c:pt>
                <c:pt idx="1">
                  <c:v>48.260210800955335</c:v>
                </c:pt>
              </c:numCache>
            </c:numRef>
          </c:xVal>
          <c:yVal>
            <c:numRef>
              <c:f>Sheet1!$B$140:$B$141</c:f>
              <c:numCache>
                <c:formatCode>General</c:formatCode>
                <c:ptCount val="2"/>
                <c:pt idx="0">
                  <c:v>0.25647800127887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53.05467361138199</c:v>
                </c:pt>
              </c:numCache>
            </c:numRef>
          </c:xVal>
          <c:yVal>
            <c:numRef>
              <c:f>Sheet1!$B$144:$B$145</c:f>
              <c:numCache>
                <c:formatCode>General</c:formatCode>
                <c:ptCount val="2"/>
                <c:pt idx="0">
                  <c:v>0.1732763997874198</c:v>
                </c:pt>
                <c:pt idx="1">
                  <c:v>0.1732763997874198</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53.05467361138199</c:v>
                </c:pt>
                <c:pt idx="1">
                  <c:v>53.05467361138199</c:v>
                </c:pt>
              </c:numCache>
            </c:numRef>
          </c:xVal>
          <c:yVal>
            <c:numRef>
              <c:f>Sheet1!$B$148:$B$149</c:f>
              <c:numCache>
                <c:formatCode>General</c:formatCode>
                <c:ptCount val="2"/>
                <c:pt idx="0">
                  <c:v>0.17327639978741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53.05467361138199</c:v>
                </c:pt>
              </c:numCache>
            </c:numRef>
          </c:xVal>
          <c:yVal>
            <c:numRef>
              <c:f>Sheet1!$B$152:$B$153</c:f>
              <c:numCache>
                <c:formatCode>General</c:formatCode>
                <c:ptCount val="2"/>
                <c:pt idx="0">
                  <c:v>0.17327639978741985</c:v>
                </c:pt>
                <c:pt idx="1">
                  <c:v>0.17327639978741985</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53.05467361138199</c:v>
                </c:pt>
                <c:pt idx="1">
                  <c:v>53.05467361138199</c:v>
                </c:pt>
              </c:numCache>
            </c:numRef>
          </c:xVal>
          <c:yVal>
            <c:numRef>
              <c:f>Sheet1!$B$156:$B$157</c:f>
              <c:numCache>
                <c:formatCode>General</c:formatCode>
                <c:ptCount val="2"/>
                <c:pt idx="0">
                  <c:v>0.173276399787419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55.7215</c:v>
                </c:pt>
                <c:pt idx="1">
                  <c:v>55.0862</c:v>
                </c:pt>
                <c:pt idx="2">
                  <c:v>59.093</c:v>
                </c:pt>
                <c:pt idx="3">
                  <c:v>53.209</c:v>
                </c:pt>
                <c:pt idx="4">
                  <c:v>55.359</c:v>
                </c:pt>
                <c:pt idx="5">
                  <c:v>53.8</c:v>
                </c:pt>
                <c:pt idx="6">
                  <c:v>54.5882</c:v>
                </c:pt>
                <c:pt idx="7">
                  <c:v>57.125</c:v>
                </c:pt>
                <c:pt idx="8">
                  <c:v>55.7679</c:v>
                </c:pt>
                <c:pt idx="9">
                  <c:v>55.0938</c:v>
                </c:pt>
                <c:pt idx="10">
                  <c:v>55.125</c:v>
                </c:pt>
                <c:pt idx="11">
                  <c:v>53.9524</c:v>
                </c:pt>
                <c:pt idx="12">
                  <c:v>53.0694</c:v>
                </c:pt>
                <c:pt idx="13">
                  <c:v>54.2941</c:v>
                </c:pt>
                <c:pt idx="14">
                  <c:v>54.4051</c:v>
                </c:pt>
                <c:pt idx="15">
                  <c:v>53.475</c:v>
                </c:pt>
                <c:pt idx="16">
                  <c:v>54.2338</c:v>
                </c:pt>
                <c:pt idx="17">
                  <c:v>54.3279</c:v>
                </c:pt>
                <c:pt idx="18">
                  <c:v>54.4643</c:v>
                </c:pt>
                <c:pt idx="19">
                  <c:v>53.6633</c:v>
                </c:pt>
                <c:pt idx="20">
                  <c:v>54.7</c:v>
                </c:pt>
                <c:pt idx="21">
                  <c:v>55.8</c:v>
                </c:pt>
                <c:pt idx="22">
                  <c:v>53.9082</c:v>
                </c:pt>
                <c:pt idx="23">
                  <c:v>53.5495</c:v>
                </c:pt>
                <c:pt idx="24">
                  <c:v>54.4573</c:v>
                </c:pt>
                <c:pt idx="25">
                  <c:v>54.7093</c:v>
                </c:pt>
                <c:pt idx="26">
                  <c:v>56.0541</c:v>
                </c:pt>
                <c:pt idx="27">
                  <c:v>57.2308</c:v>
                </c:pt>
                <c:pt idx="28">
                  <c:v>55.5714</c:v>
                </c:pt>
                <c:pt idx="29">
                  <c:v>54.0159</c:v>
                </c:pt>
                <c:pt idx="30">
                  <c:v>56.5167</c:v>
                </c:pt>
                <c:pt idx="31">
                  <c:v>54.3043</c:v>
                </c:pt>
                <c:pt idx="32">
                  <c:v>54.6372</c:v>
                </c:pt>
                <c:pt idx="33">
                  <c:v>53.3455</c:v>
                </c:pt>
                <c:pt idx="34">
                  <c:v>54.1642</c:v>
                </c:pt>
                <c:pt idx="35">
                  <c:v>55.4459</c:v>
                </c:pt>
                <c:pt idx="36">
                  <c:v>56.7143</c:v>
                </c:pt>
                <c:pt idx="37">
                  <c:v>53.9184</c:v>
                </c:pt>
                <c:pt idx="38">
                  <c:v>55.4107</c:v>
                </c:pt>
                <c:pt idx="39">
                  <c:v>53.7391</c:v>
                </c:pt>
                <c:pt idx="40">
                  <c:v>54.5333</c:v>
                </c:pt>
                <c:pt idx="41">
                  <c:v>56.3014</c:v>
                </c:pt>
                <c:pt idx="42">
                  <c:v>52.023</c:v>
                </c:pt>
                <c:pt idx="43">
                  <c:v>50.2536</c:v>
                </c:pt>
                <c:pt idx="44">
                  <c:v>48.8467</c:v>
                </c:pt>
                <c:pt idx="45">
                  <c:v>49.3876</c:v>
                </c:pt>
                <c:pt idx="46">
                  <c:v>55.1136</c:v>
                </c:pt>
                <c:pt idx="47">
                  <c:v>54.0</c:v>
                </c:pt>
                <c:pt idx="48">
                  <c:v>54.8333</c:v>
                </c:pt>
                <c:pt idx="49">
                  <c:v>53.1358</c:v>
                </c:pt>
                <c:pt idx="50">
                  <c:v>53.9452</c:v>
                </c:pt>
                <c:pt idx="51">
                  <c:v>55.6964</c:v>
                </c:pt>
                <c:pt idx="52">
                  <c:v>53.05467361138199</c:v>
                </c:pt>
                <c:pt idx="53">
                  <c:v>48.260210800955335</c:v>
                </c:pt>
                <c:pt idx="54">
                  <c:v>53.05467361138199</c:v>
                </c:pt>
              </c:numCache>
            </c:numRef>
          </c:xVal>
          <c:yVal>
            <c:numRef>
              <c:f>Sheet1!$B$160:$B$214</c:f>
              <c:numCache>
                <c:formatCode>General</c:formatCode>
                <c:ptCount val="55"/>
                <c:pt idx="0">
                  <c:v>0.12699713238959076</c:v>
                </c:pt>
                <c:pt idx="1">
                  <c:v>0.13802192901801957</c:v>
                </c:pt>
                <c:pt idx="2">
                  <c:v>0.06848918050426445</c:v>
                </c:pt>
                <c:pt idx="3">
                  <c:v>0.170598268119053</c:v>
                </c:pt>
                <c:pt idx="4">
                  <c:v>0.1332878435147371</c:v>
                </c:pt>
                <c:pt idx="5">
                  <c:v>0.16034223977433182</c:v>
                </c:pt>
                <c:pt idx="6">
                  <c:v>0.1466640645775309</c:v>
                </c:pt>
                <c:pt idx="7">
                  <c:v>0.10264123428161054</c:v>
                </c:pt>
                <c:pt idx="8">
                  <c:v>0.1261919213655721</c:v>
                </c:pt>
                <c:pt idx="9">
                  <c:v>0.13789004100546476</c:v>
                </c:pt>
                <c:pt idx="10">
                  <c:v>0.13734860600655563</c:v>
                </c:pt>
                <c:pt idx="11">
                  <c:v>0.15769753804889097</c:v>
                </c:pt>
                <c:pt idx="12">
                  <c:v>0.17302084266545426</c:v>
                </c:pt>
                <c:pt idx="13">
                  <c:v>0.15176778358968412</c:v>
                </c:pt>
                <c:pt idx="14">
                  <c:v>0.14984152445894972</c:v>
                </c:pt>
                <c:pt idx="15">
                  <c:v>0.16598218767963535</c:v>
                </c:pt>
                <c:pt idx="16">
                  <c:v>0.15281421084719116</c:v>
                </c:pt>
                <c:pt idx="17">
                  <c:v>0.1511812290075325</c:v>
                </c:pt>
                <c:pt idx="18">
                  <c:v>0.14881418625589127</c:v>
                </c:pt>
                <c:pt idx="19">
                  <c:v>0.16271448863173177</c:v>
                </c:pt>
                <c:pt idx="20">
                  <c:v>0.1447239224981064</c:v>
                </c:pt>
                <c:pt idx="21">
                  <c:v>0.12563486804938673</c:v>
                </c:pt>
                <c:pt idx="22">
                  <c:v>0.15846457096401223</c:v>
                </c:pt>
                <c:pt idx="23">
                  <c:v>0.1646893380828811</c:v>
                </c:pt>
                <c:pt idx="24">
                  <c:v>0.14893566205692865</c:v>
                </c:pt>
                <c:pt idx="25">
                  <c:v>0.14456253321958557</c:v>
                </c:pt>
                <c:pt idx="26">
                  <c:v>0.12122529647173241</c:v>
                </c:pt>
                <c:pt idx="27">
                  <c:v>0.10080521431736089</c:v>
                </c:pt>
                <c:pt idx="28">
                  <c:v>0.12960192063754794</c:v>
                </c:pt>
                <c:pt idx="29">
                  <c:v>0.1565955789966239</c:v>
                </c:pt>
                <c:pt idx="30">
                  <c:v>0.11319748139175256</c:v>
                </c:pt>
                <c:pt idx="31">
                  <c:v>0.15159077599388693</c:v>
                </c:pt>
                <c:pt idx="32">
                  <c:v>0.14581373397026975</c:v>
                </c:pt>
                <c:pt idx="33">
                  <c:v>0.1682294899988256</c:v>
                </c:pt>
                <c:pt idx="34">
                  <c:v>0.15402202738321924</c:v>
                </c:pt>
                <c:pt idx="35">
                  <c:v>0.13177980821328816</c:v>
                </c:pt>
                <c:pt idx="36">
                  <c:v>0.10976839306532804</c:v>
                </c:pt>
                <c:pt idx="37">
                  <c:v>0.15828756336821503</c:v>
                </c:pt>
                <c:pt idx="38">
                  <c:v>0.1323906579556473</c:v>
                </c:pt>
                <c:pt idx="39">
                  <c:v>0.1613990792433564</c:v>
                </c:pt>
                <c:pt idx="40">
                  <c:v>0.14761678193138073</c:v>
                </c:pt>
                <c:pt idx="41">
                  <c:v>0.11693372995794293</c:v>
                </c:pt>
                <c:pt idx="42">
                  <c:v>0.19117973955194545</c:v>
                </c:pt>
                <c:pt idx="43">
                  <c:v>0.2218853513170045</c:v>
                </c:pt>
                <c:pt idx="44">
                  <c:v>0.24630025195691707</c:v>
                </c:pt>
                <c:pt idx="45">
                  <c:v>0.23691364327390563</c:v>
                </c:pt>
                <c:pt idx="46">
                  <c:v>0.1375464380253879</c:v>
                </c:pt>
                <c:pt idx="47">
                  <c:v>0.15687150260183724</c:v>
                </c:pt>
                <c:pt idx="48">
                  <c:v>0.14241067617263892</c:v>
                </c:pt>
                <c:pt idx="49">
                  <c:v>0.17186855792418598</c:v>
                </c:pt>
                <c:pt idx="50">
                  <c:v>0.1578224845871008</c:v>
                </c:pt>
                <c:pt idx="51">
                  <c:v>0.12743270990473887</c:v>
                </c:pt>
                <c:pt idx="52">
                  <c:v>0.17327639978741982</c:v>
                </c:pt>
                <c:pt idx="53">
                  <c:v>0.2564780012788713</c:v>
                </c:pt>
                <c:pt idx="54">
                  <c:v>0.173276399787419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7.0"/>
          <c:min val="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08808290155441"/>
          <c:min val="0.04613610149942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7254528489248048</c:v>
                </c:pt>
                <c:pt idx="1">
                  <c:v>0.7169103654443668</c:v>
                </c:pt>
                <c:pt idx="2">
                  <c:v>0.7056694444444445</c:v>
                </c:pt>
                <c:pt idx="3">
                  <c:v>0.7301045511770383</c:v>
                </c:pt>
                <c:pt idx="4">
                  <c:v>0.8265917393598816</c:v>
                </c:pt>
                <c:pt idx="5">
                  <c:v>0.8227411115952218</c:v>
                </c:pt>
                <c:pt idx="6">
                  <c:v>0.7839287007233928</c:v>
                </c:pt>
                <c:pt idx="7">
                  <c:v>0.7744522257428674</c:v>
                </c:pt>
                <c:pt idx="8">
                  <c:v>0.8336503369759539</c:v>
                </c:pt>
                <c:pt idx="9">
                  <c:v>0.7406978109990875</c:v>
                </c:pt>
                <c:pt idx="10">
                  <c:v>0.7933220647783938</c:v>
                </c:pt>
                <c:pt idx="11">
                  <c:v>0.7800351403870096</c:v>
                </c:pt>
                <c:pt idx="12">
                  <c:v>0.7776384778914766</c:v>
                </c:pt>
                <c:pt idx="13">
                  <c:v>0.7716344715447154</c:v>
                </c:pt>
                <c:pt idx="14">
                  <c:v>0.8201372384937238</c:v>
                </c:pt>
                <c:pt idx="15">
                  <c:v>0.7779817535966214</c:v>
                </c:pt>
                <c:pt idx="16">
                  <c:v>0.700948219096079</c:v>
                </c:pt>
                <c:pt idx="17">
                  <c:v>0.7534429700607398</c:v>
                </c:pt>
                <c:pt idx="18">
                  <c:v>0.7584679614706785</c:v>
                </c:pt>
                <c:pt idx="19">
                  <c:v>0.7788076152304609</c:v>
                </c:pt>
                <c:pt idx="20">
                  <c:v>0.7614055956506369</c:v>
                </c:pt>
                <c:pt idx="21">
                  <c:v>0.7898681560829547</c:v>
                </c:pt>
                <c:pt idx="22">
                  <c:v>0.8269635128410564</c:v>
                </c:pt>
                <c:pt idx="23">
                  <c:v>0.8562737693682556</c:v>
                </c:pt>
                <c:pt idx="24">
                  <c:v>0.7814893011496382</c:v>
                </c:pt>
                <c:pt idx="25">
                  <c:v>0.8550427460826183</c:v>
                </c:pt>
                <c:pt idx="26">
                  <c:v>0.778554404590626</c:v>
                </c:pt>
                <c:pt idx="27">
                  <c:v>0.7887639520249334</c:v>
                </c:pt>
                <c:pt idx="28">
                  <c:v>0.7887618071082886</c:v>
                </c:pt>
                <c:pt idx="29">
                  <c:v>0.8107097371469816</c:v>
                </c:pt>
                <c:pt idx="30">
                  <c:v>0.837717518517697</c:v>
                </c:pt>
                <c:pt idx="31">
                  <c:v>0.7215342331548588</c:v>
                </c:pt>
                <c:pt idx="32">
                  <c:v>0.805556147709165</c:v>
                </c:pt>
                <c:pt idx="33">
                  <c:v>0.73188263850445</c:v>
                </c:pt>
                <c:pt idx="34">
                  <c:v>0.7904157456552527</c:v>
                </c:pt>
                <c:pt idx="35">
                  <c:v>0.8345269935741435</c:v>
                </c:pt>
                <c:pt idx="36">
                  <c:v>0.7971882736156352</c:v>
                </c:pt>
                <c:pt idx="37">
                  <c:v>0.7834224007474117</c:v>
                </c:pt>
                <c:pt idx="38">
                  <c:v>0.8218986842105264</c:v>
                </c:pt>
                <c:pt idx="39">
                  <c:v>0.7531832074670031</c:v>
                </c:pt>
                <c:pt idx="40">
                  <c:v>0.7233077922077922</c:v>
                </c:pt>
                <c:pt idx="41">
                  <c:v>0.6777303312629399</c:v>
                </c:pt>
                <c:pt idx="42">
                  <c:v>0.7232691797797427</c:v>
                </c:pt>
                <c:pt idx="43">
                  <c:v>0.7117644736842105</c:v>
                </c:pt>
                <c:pt idx="44">
                  <c:v>0.7150629774526143</c:v>
                </c:pt>
                <c:pt idx="45">
                  <c:v>0.7066532244814265</c:v>
                </c:pt>
                <c:pt idx="46">
                  <c:v>0.7257915398120689</c:v>
                </c:pt>
                <c:pt idx="47">
                  <c:v>0.7012973737904741</c:v>
                </c:pt>
                <c:pt idx="48">
                  <c:v>0.7265789741913022</c:v>
                </c:pt>
                <c:pt idx="49">
                  <c:v>0.7305931220635138</c:v>
                </c:pt>
                <c:pt idx="50">
                  <c:v>0.7616296335933006</c:v>
                </c:pt>
                <c:pt idx="51">
                  <c:v>0.7562326869806095</c:v>
                </c:pt>
                <c:pt idx="52">
                  <c:v>0.6854093733332838</c:v>
                </c:pt>
                <c:pt idx="53">
                  <c:v>0.7171103703967304</c:v>
                </c:pt>
                <c:pt idx="54">
                  <c:v>0.7664873927038626</c:v>
                </c:pt>
                <c:pt idx="55">
                  <c:v>0.7486058588548603</c:v>
                </c:pt>
                <c:pt idx="56">
                  <c:v>0.7324574672491432</c:v>
                </c:pt>
                <c:pt idx="57">
                  <c:v>0.7268550434201737</c:v>
                </c:pt>
                <c:pt idx="58">
                  <c:v>0.7075467300610637</c:v>
                </c:pt>
                <c:pt idx="59">
                  <c:v>0.697134158122798</c:v>
                </c:pt>
                <c:pt idx="60">
                  <c:v>0.6359567408250303</c:v>
                </c:pt>
                <c:pt idx="61">
                  <c:v>0.6600257343229402</c:v>
                </c:pt>
                <c:pt idx="62">
                  <c:v>0.6514754345741393</c:v>
                </c:pt>
                <c:pt idx="63">
                  <c:v>0.6550452465755685</c:v>
                </c:pt>
                <c:pt idx="64">
                  <c:v>0.6356717930743764</c:v>
                </c:pt>
                <c:pt idx="65">
                  <c:v>0.6432664756446992</c:v>
                </c:pt>
                <c:pt idx="66">
                  <c:v>0.6786955752905558</c:v>
                </c:pt>
                <c:pt idx="67">
                  <c:v>0.5425039132845583</c:v>
                </c:pt>
                <c:pt idx="68">
                  <c:v>0.5352598689076363</c:v>
                </c:pt>
                <c:pt idx="69">
                  <c:v>0.5224367952522255</c:v>
                </c:pt>
                <c:pt idx="70">
                  <c:v>0.5009340274439239</c:v>
                </c:pt>
                <c:pt idx="71">
                  <c:v>0.6060357189414679</c:v>
                </c:pt>
                <c:pt idx="72">
                  <c:v>0.6815156626506025</c:v>
                </c:pt>
                <c:pt idx="73">
                  <c:v>0.6708217670115236</c:v>
                </c:pt>
                <c:pt idx="74">
                  <c:v>0.6419951506252505</c:v>
                </c:pt>
                <c:pt idx="75">
                  <c:v>0.652496365811692</c:v>
                </c:pt>
                <c:pt idx="76">
                  <c:v>0.6413800273869343</c:v>
                </c:pt>
                <c:pt idx="77">
                  <c:v>0.6594293025682814</c:v>
                </c:pt>
              </c:numCache>
            </c:numRef>
          </c:xVal>
          <c:yVal>
            <c:numRef>
              <c:f>Sheet1!$B$2:$B$79</c:f>
              <c:numCache>
                <c:formatCode>General</c:formatCode>
                <c:ptCount val="78"/>
                <c:pt idx="0">
                  <c:v>0.12679628064243448</c:v>
                </c:pt>
                <c:pt idx="1">
                  <c:v>0.1159678858162355</c:v>
                </c:pt>
                <c:pt idx="2">
                  <c:v>0.12362404741744284</c:v>
                </c:pt>
                <c:pt idx="3">
                  <c:v>0.11606313834726091</c:v>
                </c:pt>
                <c:pt idx="4">
                  <c:v>0.08379888268156424</c:v>
                </c:pt>
                <c:pt idx="5">
                  <c:v>0.06562847608453838</c:v>
                </c:pt>
                <c:pt idx="6">
                  <c:v>0.10665137614678899</c:v>
                </c:pt>
                <c:pt idx="7">
                  <c:v>0.05767012687427912</c:v>
                </c:pt>
                <c:pt idx="8">
                  <c:v>0.0981404958677686</c:v>
                </c:pt>
                <c:pt idx="9">
                  <c:v>0.13554502369668248</c:v>
                </c:pt>
                <c:pt idx="10">
                  <c:v>0.20219435736677116</c:v>
                </c:pt>
                <c:pt idx="11">
                  <c:v>0.1708542713567839</c:v>
                </c:pt>
                <c:pt idx="12">
                  <c:v>0.09586776859504133</c:v>
                </c:pt>
                <c:pt idx="13">
                  <c:v>0.09461235216819974</c:v>
                </c:pt>
                <c:pt idx="14">
                  <c:v>0.0945945945945946</c:v>
                </c:pt>
                <c:pt idx="15">
                  <c:v>0.12365591397849462</c:v>
                </c:pt>
                <c:pt idx="16">
                  <c:v>0.11380880121396054</c:v>
                </c:pt>
                <c:pt idx="17">
                  <c:v>0.1079734219269103</c:v>
                </c:pt>
                <c:pt idx="18">
                  <c:v>0.11544715447154472</c:v>
                </c:pt>
                <c:pt idx="19">
                  <c:v>0.07961783439490445</c:v>
                </c:pt>
                <c:pt idx="20">
                  <c:v>0.06711409395973154</c:v>
                </c:pt>
                <c:pt idx="21">
                  <c:v>0.08152173913043478</c:v>
                </c:pt>
                <c:pt idx="22">
                  <c:v>0.09880239520958084</c:v>
                </c:pt>
                <c:pt idx="23">
                  <c:v>0.08853575482406356</c:v>
                </c:pt>
                <c:pt idx="24">
                  <c:v>0.11285714285714285</c:v>
                </c:pt>
                <c:pt idx="25">
                  <c:v>0.07183098591549296</c:v>
                </c:pt>
                <c:pt idx="26">
                  <c:v>0.08157894736842106</c:v>
                </c:pt>
                <c:pt idx="27">
                  <c:v>0.063257065948856</c:v>
                </c:pt>
                <c:pt idx="28">
                  <c:v>0.06512890094979647</c:v>
                </c:pt>
                <c:pt idx="29">
                  <c:v>0.07085561497326204</c:v>
                </c:pt>
                <c:pt idx="30">
                  <c:v>0.07975460122699386</c:v>
                </c:pt>
                <c:pt idx="31">
                  <c:v>0.07621247113163972</c:v>
                </c:pt>
                <c:pt idx="32">
                  <c:v>0.08074534161490683</c:v>
                </c:pt>
                <c:pt idx="33">
                  <c:v>0.09006928406466513</c:v>
                </c:pt>
                <c:pt idx="34">
                  <c:v>0.09188361408882083</c:v>
                </c:pt>
                <c:pt idx="35">
                  <c:v>0.1087378640776699</c:v>
                </c:pt>
                <c:pt idx="36">
                  <c:v>0.06643356643356643</c:v>
                </c:pt>
                <c:pt idx="37">
                  <c:v>0.08079268292682927</c:v>
                </c:pt>
                <c:pt idx="38">
                  <c:v>0.1001788908765653</c:v>
                </c:pt>
                <c:pt idx="39">
                  <c:v>0.0919175911251981</c:v>
                </c:pt>
                <c:pt idx="40">
                  <c:v>0.17025089605734767</c:v>
                </c:pt>
                <c:pt idx="41">
                  <c:v>0.12698412698412698</c:v>
                </c:pt>
                <c:pt idx="42">
                  <c:v>0.1729490022172949</c:v>
                </c:pt>
                <c:pt idx="43">
                  <c:v>0.10353227771010962</c:v>
                </c:pt>
                <c:pt idx="44">
                  <c:v>0.09737417943107221</c:v>
                </c:pt>
                <c:pt idx="45">
                  <c:v>0.10837438423645321</c:v>
                </c:pt>
                <c:pt idx="46">
                  <c:v>0.09395348837209302</c:v>
                </c:pt>
                <c:pt idx="47">
                  <c:v>0.12075471698113208</c:v>
                </c:pt>
                <c:pt idx="48">
                  <c:v>0.12217194570135746</c:v>
                </c:pt>
                <c:pt idx="49">
                  <c:v>0.10771992818671454</c:v>
                </c:pt>
                <c:pt idx="50">
                  <c:v>0.10164333536214243</c:v>
                </c:pt>
                <c:pt idx="51">
                  <c:v>0.10879067508499271</c:v>
                </c:pt>
                <c:pt idx="52">
                  <c:v>0.13000520020800832</c:v>
                </c:pt>
                <c:pt idx="53">
                  <c:v>0.08483290488431877</c:v>
                </c:pt>
                <c:pt idx="54">
                  <c:v>0.08385481852315395</c:v>
                </c:pt>
                <c:pt idx="55">
                  <c:v>0.0880597014925373</c:v>
                </c:pt>
                <c:pt idx="56">
                  <c:v>0.12460063897763578</c:v>
                </c:pt>
                <c:pt idx="57">
                  <c:v>0.1490566037735849</c:v>
                </c:pt>
                <c:pt idx="58">
                  <c:v>0.141287284144427</c:v>
                </c:pt>
                <c:pt idx="59">
                  <c:v>0.13934426229508196</c:v>
                </c:pt>
                <c:pt idx="60">
                  <c:v>0.14988290398126464</c:v>
                </c:pt>
                <c:pt idx="61">
                  <c:v>0.1655328798185941</c:v>
                </c:pt>
                <c:pt idx="62">
                  <c:v>0.176056338028169</c:v>
                </c:pt>
                <c:pt idx="63">
                  <c:v>0.14678899082568808</c:v>
                </c:pt>
                <c:pt idx="64">
                  <c:v>0.14766355140186915</c:v>
                </c:pt>
                <c:pt idx="65">
                  <c:v>0.12173913043478261</c:v>
                </c:pt>
                <c:pt idx="66">
                  <c:v>0.10714285714285714</c:v>
                </c:pt>
                <c:pt idx="67">
                  <c:v>0.44359756097560976</c:v>
                </c:pt>
                <c:pt idx="68">
                  <c:v>0.4379001280409731</c:v>
                </c:pt>
                <c:pt idx="69">
                  <c:v>0.5090673575129534</c:v>
                </c:pt>
                <c:pt idx="70">
                  <c:v>0.48880597014925375</c:v>
                </c:pt>
                <c:pt idx="71">
                  <c:v>0.23450134770889489</c:v>
                </c:pt>
                <c:pt idx="72">
                  <c:v>0.12317666126418152</c:v>
                </c:pt>
                <c:pt idx="73">
                  <c:v>0.11653543307086614</c:v>
                </c:pt>
                <c:pt idx="74">
                  <c:v>0.20202020202020202</c:v>
                </c:pt>
                <c:pt idx="75">
                  <c:v>0.2365988909426987</c:v>
                </c:pt>
                <c:pt idx="76">
                  <c:v>0.18356643356643357</c:v>
                </c:pt>
                <c:pt idx="77">
                  <c:v>0.12956204379562045</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6821776699338163</c:v>
                </c:pt>
                <c:pt idx="1">
                  <c:v>0.6483269327866092</c:v>
                </c:pt>
                <c:pt idx="2">
                  <c:v>0.7102524038461538</c:v>
                </c:pt>
                <c:pt idx="3">
                  <c:v>0.6199629250309638</c:v>
                </c:pt>
                <c:pt idx="4">
                  <c:v>0.6601587700981789</c:v>
                </c:pt>
                <c:pt idx="5">
                  <c:v>0.6201729106628242</c:v>
                </c:pt>
                <c:pt idx="6">
                  <c:v>0.6048554016620499</c:v>
                </c:pt>
                <c:pt idx="7">
                  <c:v>0.7062723163506522</c:v>
                </c:pt>
                <c:pt idx="8">
                  <c:v>0.6770545500458914</c:v>
                </c:pt>
                <c:pt idx="9">
                  <c:v>0.6603706642566218</c:v>
                </c:pt>
                <c:pt idx="10">
                  <c:v>0.6463114230341287</c:v>
                </c:pt>
                <c:pt idx="11">
                  <c:v>0.6230724013724305</c:v>
                </c:pt>
                <c:pt idx="12">
                  <c:v>0.6471878048780488</c:v>
                </c:pt>
                <c:pt idx="13">
                  <c:v>0.6626807923740708</c:v>
                </c:pt>
                <c:pt idx="14">
                  <c:v>0.6377319034161174</c:v>
                </c:pt>
                <c:pt idx="15">
                  <c:v>0.6375558867362147</c:v>
                </c:pt>
                <c:pt idx="16">
                  <c:v>0.6500624486087505</c:v>
                </c:pt>
                <c:pt idx="17">
                  <c:v>0.6370696711219098</c:v>
                </c:pt>
                <c:pt idx="18">
                  <c:v>0.633674229203025</c:v>
                </c:pt>
                <c:pt idx="19">
                  <c:v>0.6454345470268658</c:v>
                </c:pt>
                <c:pt idx="20">
                  <c:v>0.644952100221076</c:v>
                </c:pt>
                <c:pt idx="21">
                  <c:v>0.6569250257825413</c:v>
                </c:pt>
                <c:pt idx="22">
                  <c:v>0.6528676999542214</c:v>
                </c:pt>
                <c:pt idx="23">
                  <c:v>0.6426968314930389</c:v>
                </c:pt>
                <c:pt idx="24">
                  <c:v>0.6550135194950155</c:v>
                </c:pt>
                <c:pt idx="25">
                  <c:v>0.6508455985572004</c:v>
                </c:pt>
                <c:pt idx="26">
                  <c:v>0.6776833026453709</c:v>
                </c:pt>
                <c:pt idx="27">
                  <c:v>0.6938622600219444</c:v>
                </c:pt>
                <c:pt idx="28">
                  <c:v>0.6443949947876866</c:v>
                </c:pt>
                <c:pt idx="29">
                  <c:v>0.6430464285714286</c:v>
                </c:pt>
                <c:pt idx="30">
                  <c:v>0.6835595065312046</c:v>
                </c:pt>
                <c:pt idx="31">
                  <c:v>0.6301520716204533</c:v>
                </c:pt>
                <c:pt idx="32">
                  <c:v>0.6731853005463134</c:v>
                </c:pt>
                <c:pt idx="33">
                  <c:v>0.6735542929292929</c:v>
                </c:pt>
                <c:pt idx="34">
                  <c:v>0.6806351934997845</c:v>
                </c:pt>
                <c:pt idx="35">
                  <c:v>0.6809143224862026</c:v>
                </c:pt>
                <c:pt idx="36">
                  <c:v>0.6808921640308258</c:v>
                </c:pt>
                <c:pt idx="37">
                  <c:v>0.6190401836969002</c:v>
                </c:pt>
                <c:pt idx="38">
                  <c:v>0.7103935897435897</c:v>
                </c:pt>
                <c:pt idx="39">
                  <c:v>0.6858597448211872</c:v>
                </c:pt>
                <c:pt idx="40">
                  <c:v>0.6415682352941177</c:v>
                </c:pt>
                <c:pt idx="41">
                  <c:v>0.6806731121462674</c:v>
                </c:pt>
                <c:pt idx="42">
                  <c:v>0.6607009732140704</c:v>
                </c:pt>
                <c:pt idx="43">
                  <c:v>0.6171492571406115</c:v>
                </c:pt>
                <c:pt idx="44">
                  <c:v>0.6167512626262626</c:v>
                </c:pt>
                <c:pt idx="45">
                  <c:v>0.6217861072711844</c:v>
                </c:pt>
                <c:pt idx="46">
                  <c:v>0.6983202636490456</c:v>
                </c:pt>
                <c:pt idx="47">
                  <c:v>0.6428571428571429</c:v>
                </c:pt>
                <c:pt idx="48">
                  <c:v>0.6945548555113912</c:v>
                </c:pt>
                <c:pt idx="49">
                  <c:v>0.7350336075517739</c:v>
                </c:pt>
                <c:pt idx="50">
                  <c:v>0.7387840682343886</c:v>
                </c:pt>
                <c:pt idx="51">
                  <c:v>0.7608330088997262</c:v>
                </c:pt>
              </c:numCache>
            </c:numRef>
          </c:xVal>
          <c:yVal>
            <c:numRef>
              <c:f>Sheet1!$B$82:$B$133</c:f>
              <c:numCache>
                <c:formatCode>General</c:formatCode>
                <c:ptCount val="52"/>
                <c:pt idx="0">
                  <c:v>0.1673728813559322</c:v>
                </c:pt>
                <c:pt idx="1">
                  <c:v>0.11350293542074363</c:v>
                </c:pt>
                <c:pt idx="2">
                  <c:v>0.08847736625514403</c:v>
                </c:pt>
                <c:pt idx="3">
                  <c:v>0.14596949891067537</c:v>
                </c:pt>
                <c:pt idx="4">
                  <c:v>0.11079545454545454</c:v>
                </c:pt>
                <c:pt idx="5">
                  <c:v>0.16129032258064516</c:v>
                </c:pt>
                <c:pt idx="6">
                  <c:v>0.11971830985915492</c:v>
                </c:pt>
                <c:pt idx="7">
                  <c:v>0.12658227848101267</c:v>
                </c:pt>
                <c:pt idx="8">
                  <c:v>0.1275626423690205</c:v>
                </c:pt>
                <c:pt idx="9">
                  <c:v>0.128</c:v>
                </c:pt>
                <c:pt idx="10">
                  <c:v>0.17167381974248927</c:v>
                </c:pt>
                <c:pt idx="11">
                  <c:v>0.125</c:v>
                </c:pt>
                <c:pt idx="12">
                  <c:v>0.16179775280898875</c:v>
                </c:pt>
                <c:pt idx="13">
                  <c:v>0.1705685618729097</c:v>
                </c:pt>
                <c:pt idx="14">
                  <c:v>0.16952789699570817</c:v>
                </c:pt>
                <c:pt idx="15">
                  <c:v>0.17204301075268819</c:v>
                </c:pt>
                <c:pt idx="16">
                  <c:v>0.16775599128540306</c:v>
                </c:pt>
                <c:pt idx="17">
                  <c:v>0.14352941176470588</c:v>
                </c:pt>
                <c:pt idx="18">
                  <c:v>0.14788732394366197</c:v>
                </c:pt>
                <c:pt idx="19">
                  <c:v>0.19291338582677164</c:v>
                </c:pt>
                <c:pt idx="20">
                  <c:v>0.15358361774744028</c:v>
                </c:pt>
                <c:pt idx="21">
                  <c:v>0.12168141592920353</c:v>
                </c:pt>
                <c:pt idx="22">
                  <c:v>0.11225658648339061</c:v>
                </c:pt>
                <c:pt idx="23">
                  <c:v>0.07979870596693027</c:v>
                </c:pt>
                <c:pt idx="24">
                  <c:v>0.1421759861291721</c:v>
                </c:pt>
                <c:pt idx="25">
                  <c:v>0.11344327836081959</c:v>
                </c:pt>
                <c:pt idx="26">
                  <c:v>0.10818713450292397</c:v>
                </c:pt>
                <c:pt idx="27">
                  <c:v>0.1346153846153846</c:v>
                </c:pt>
                <c:pt idx="28">
                  <c:v>0.10096153846153846</c:v>
                </c:pt>
                <c:pt idx="29">
                  <c:v>0.11580882352941177</c:v>
                </c:pt>
                <c:pt idx="30">
                  <c:v>0.09419152276295134</c:v>
                </c:pt>
                <c:pt idx="31">
                  <c:v>0.16350710900473933</c:v>
                </c:pt>
                <c:pt idx="32">
                  <c:v>0.2100371747211896</c:v>
                </c:pt>
                <c:pt idx="33">
                  <c:v>0.17027863777089783</c:v>
                </c:pt>
                <c:pt idx="34">
                  <c:v>0.17402597402597403</c:v>
                </c:pt>
                <c:pt idx="35">
                  <c:v>0.18546365914786966</c:v>
                </c:pt>
                <c:pt idx="36">
                  <c:v>0.12531969309462915</c:v>
                </c:pt>
                <c:pt idx="37">
                  <c:v>0.1346153846153846</c:v>
                </c:pt>
                <c:pt idx="38">
                  <c:v>0.1342925659472422</c:v>
                </c:pt>
                <c:pt idx="39">
                  <c:v>0.1564625850340136</c:v>
                </c:pt>
                <c:pt idx="40">
                  <c:v>0.1744186046511628</c:v>
                </c:pt>
                <c:pt idx="41">
                  <c:v>0.15766738660907129</c:v>
                </c:pt>
                <c:pt idx="42">
                  <c:v>0.20518867924528303</c:v>
                </c:pt>
                <c:pt idx="43">
                  <c:v>0.27111984282907664</c:v>
                </c:pt>
                <c:pt idx="44">
                  <c:v>0.28482328482328484</c:v>
                </c:pt>
                <c:pt idx="45">
                  <c:v>0.24807692307692308</c:v>
                </c:pt>
                <c:pt idx="46">
                  <c:v>0.10304449648711944</c:v>
                </c:pt>
                <c:pt idx="47">
                  <c:v>0.12705882352941175</c:v>
                </c:pt>
                <c:pt idx="48">
                  <c:v>0.11785714285714285</c:v>
                </c:pt>
                <c:pt idx="49">
                  <c:v>0.150278293135436</c:v>
                </c:pt>
                <c:pt idx="50">
                  <c:v>0.14065510597302505</c:v>
                </c:pt>
                <c:pt idx="51">
                  <c:v>0.11594202898550725</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3913781044489536</c:v>
                </c:pt>
              </c:numCache>
            </c:numRef>
          </c:xVal>
          <c:yVal>
            <c:numRef>
              <c:f>Sheet1!$B$136:$B$137</c:f>
              <c:numCache>
                <c:formatCode>General</c:formatCode>
                <c:ptCount val="2"/>
                <c:pt idx="0">
                  <c:v>0.2564780012788713</c:v>
                </c:pt>
                <c:pt idx="1">
                  <c:v>0.2564780012788713</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3913781044489536</c:v>
                </c:pt>
                <c:pt idx="1">
                  <c:v>0.3913781044489536</c:v>
                </c:pt>
              </c:numCache>
            </c:numRef>
          </c:xVal>
          <c:yVal>
            <c:numRef>
              <c:f>Sheet1!$B$140:$B$141</c:f>
              <c:numCache>
                <c:formatCode>General</c:formatCode>
                <c:ptCount val="2"/>
                <c:pt idx="0">
                  <c:v>0.25647800127887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60017109947008</c:v>
                </c:pt>
              </c:numCache>
            </c:numRef>
          </c:xVal>
          <c:yVal>
            <c:numRef>
              <c:f>Sheet1!$B$144:$B$145</c:f>
              <c:numCache>
                <c:formatCode>General</c:formatCode>
                <c:ptCount val="2"/>
                <c:pt idx="0">
                  <c:v>0.1732763997874198</c:v>
                </c:pt>
                <c:pt idx="1">
                  <c:v>0.1732763997874198</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60017109947008</c:v>
                </c:pt>
                <c:pt idx="1">
                  <c:v>0.60017109947008</c:v>
                </c:pt>
              </c:numCache>
            </c:numRef>
          </c:xVal>
          <c:yVal>
            <c:numRef>
              <c:f>Sheet1!$B$148:$B$149</c:f>
              <c:numCache>
                <c:formatCode>General</c:formatCode>
                <c:ptCount val="2"/>
                <c:pt idx="0">
                  <c:v>0.173276399787419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6001710994700798</c:v>
                </c:pt>
              </c:numCache>
            </c:numRef>
          </c:xVal>
          <c:yVal>
            <c:numRef>
              <c:f>Sheet1!$B$152:$B$153</c:f>
              <c:numCache>
                <c:formatCode>General</c:formatCode>
                <c:ptCount val="2"/>
                <c:pt idx="0">
                  <c:v>0.17327639978741985</c:v>
                </c:pt>
                <c:pt idx="1">
                  <c:v>0.17327639978741985</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6001710994700798</c:v>
                </c:pt>
                <c:pt idx="1">
                  <c:v>0.6001710994700798</c:v>
                </c:pt>
              </c:numCache>
            </c:numRef>
          </c:xVal>
          <c:yVal>
            <c:numRef>
              <c:f>Sheet1!$B$156:$B$157</c:f>
              <c:numCache>
                <c:formatCode>General</c:formatCode>
                <c:ptCount val="2"/>
                <c:pt idx="0">
                  <c:v>0.173276399787419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6821776699338163</c:v>
                </c:pt>
                <c:pt idx="1">
                  <c:v>0.6483269327866092</c:v>
                </c:pt>
                <c:pt idx="2">
                  <c:v>0.7102524038461538</c:v>
                </c:pt>
                <c:pt idx="3">
                  <c:v>0.6199629250309638</c:v>
                </c:pt>
                <c:pt idx="4">
                  <c:v>0.6601587700981789</c:v>
                </c:pt>
                <c:pt idx="5">
                  <c:v>0.6201729106628242</c:v>
                </c:pt>
                <c:pt idx="6">
                  <c:v>0.6048554016620499</c:v>
                </c:pt>
                <c:pt idx="7">
                  <c:v>0.7062723163506522</c:v>
                </c:pt>
                <c:pt idx="8">
                  <c:v>0.6770545500458914</c:v>
                </c:pt>
                <c:pt idx="9">
                  <c:v>0.6603706642566218</c:v>
                </c:pt>
                <c:pt idx="10">
                  <c:v>0.6463114230341287</c:v>
                </c:pt>
                <c:pt idx="11">
                  <c:v>0.6230724013724305</c:v>
                </c:pt>
                <c:pt idx="12">
                  <c:v>0.6471878048780488</c:v>
                </c:pt>
                <c:pt idx="13">
                  <c:v>0.6626807923740708</c:v>
                </c:pt>
                <c:pt idx="14">
                  <c:v>0.6377319034161174</c:v>
                </c:pt>
                <c:pt idx="15">
                  <c:v>0.6375558867362147</c:v>
                </c:pt>
                <c:pt idx="16">
                  <c:v>0.6500624486087505</c:v>
                </c:pt>
                <c:pt idx="17">
                  <c:v>0.6370696711219098</c:v>
                </c:pt>
                <c:pt idx="18">
                  <c:v>0.633674229203025</c:v>
                </c:pt>
                <c:pt idx="19">
                  <c:v>0.6454345470268658</c:v>
                </c:pt>
                <c:pt idx="20">
                  <c:v>0.644952100221076</c:v>
                </c:pt>
                <c:pt idx="21">
                  <c:v>0.6569250257825413</c:v>
                </c:pt>
                <c:pt idx="22">
                  <c:v>0.6528676999542214</c:v>
                </c:pt>
                <c:pt idx="23">
                  <c:v>0.6426968314930389</c:v>
                </c:pt>
                <c:pt idx="24">
                  <c:v>0.6550135194950155</c:v>
                </c:pt>
                <c:pt idx="25">
                  <c:v>0.6508455985572004</c:v>
                </c:pt>
                <c:pt idx="26">
                  <c:v>0.6776833026453709</c:v>
                </c:pt>
                <c:pt idx="27">
                  <c:v>0.6938622600219444</c:v>
                </c:pt>
                <c:pt idx="28">
                  <c:v>0.6443949947876866</c:v>
                </c:pt>
                <c:pt idx="29">
                  <c:v>0.6430464285714286</c:v>
                </c:pt>
                <c:pt idx="30">
                  <c:v>0.6835595065312046</c:v>
                </c:pt>
                <c:pt idx="31">
                  <c:v>0.6301520716204533</c:v>
                </c:pt>
                <c:pt idx="32">
                  <c:v>0.6731853005463134</c:v>
                </c:pt>
                <c:pt idx="33">
                  <c:v>0.6735542929292929</c:v>
                </c:pt>
                <c:pt idx="34">
                  <c:v>0.6806351934997845</c:v>
                </c:pt>
                <c:pt idx="35">
                  <c:v>0.6809143224862026</c:v>
                </c:pt>
                <c:pt idx="36">
                  <c:v>0.6808921640308258</c:v>
                </c:pt>
                <c:pt idx="37">
                  <c:v>0.6190401836969002</c:v>
                </c:pt>
                <c:pt idx="38">
                  <c:v>0.7103935897435897</c:v>
                </c:pt>
                <c:pt idx="39">
                  <c:v>0.6858597448211872</c:v>
                </c:pt>
                <c:pt idx="40">
                  <c:v>0.6415682352941177</c:v>
                </c:pt>
                <c:pt idx="41">
                  <c:v>0.6806731121462674</c:v>
                </c:pt>
                <c:pt idx="42">
                  <c:v>0.6607009732140704</c:v>
                </c:pt>
                <c:pt idx="43">
                  <c:v>0.6171492571406115</c:v>
                </c:pt>
                <c:pt idx="44">
                  <c:v>0.6167512626262626</c:v>
                </c:pt>
                <c:pt idx="45">
                  <c:v>0.6217861072711844</c:v>
                </c:pt>
                <c:pt idx="46">
                  <c:v>0.6983202636490456</c:v>
                </c:pt>
                <c:pt idx="47">
                  <c:v>0.6428571428571429</c:v>
                </c:pt>
                <c:pt idx="48">
                  <c:v>0.6945548555113912</c:v>
                </c:pt>
                <c:pt idx="49">
                  <c:v>0.7350336075517739</c:v>
                </c:pt>
                <c:pt idx="50">
                  <c:v>0.7387840682343886</c:v>
                </c:pt>
                <c:pt idx="51">
                  <c:v>0.7608330088997262</c:v>
                </c:pt>
                <c:pt idx="52">
                  <c:v>0.60017109947008</c:v>
                </c:pt>
                <c:pt idx="53">
                  <c:v>0.3913781044489536</c:v>
                </c:pt>
                <c:pt idx="54">
                  <c:v>0.6001710994700798</c:v>
                </c:pt>
              </c:numCache>
            </c:numRef>
          </c:xVal>
          <c:yVal>
            <c:numRef>
              <c:f>Sheet1!$B$160:$B$214</c:f>
              <c:numCache>
                <c:formatCode>General</c:formatCode>
                <c:ptCount val="55"/>
                <c:pt idx="0">
                  <c:v>0.14059772685246785</c:v>
                </c:pt>
                <c:pt idx="1">
                  <c:v>0.15408685536479572</c:v>
                </c:pt>
                <c:pt idx="2">
                  <c:v>0.12941026904184305</c:v>
                </c:pt>
                <c:pt idx="3">
                  <c:v>0.16538958546714835</c:v>
                </c:pt>
                <c:pt idx="4">
                  <c:v>0.14937200459688893</c:v>
                </c:pt>
                <c:pt idx="5">
                  <c:v>0.1653059086136255</c:v>
                </c:pt>
                <c:pt idx="6">
                  <c:v>0.1714097593658751</c:v>
                </c:pt>
                <c:pt idx="7">
                  <c:v>0.13099628802523056</c:v>
                </c:pt>
                <c:pt idx="8">
                  <c:v>0.14263923106703658</c:v>
                </c:pt>
                <c:pt idx="9">
                  <c:v>0.149287567217525</c:v>
                </c:pt>
                <c:pt idx="10">
                  <c:v>0.15489001276579495</c:v>
                </c:pt>
                <c:pt idx="11">
                  <c:v>0.16415049499199313</c:v>
                </c:pt>
                <c:pt idx="12">
                  <c:v>0.1545407847041696</c:v>
                </c:pt>
                <c:pt idx="13">
                  <c:v>0.14836700779452933</c:v>
                </c:pt>
                <c:pt idx="14">
                  <c:v>0.15830885242645332</c:v>
                </c:pt>
                <c:pt idx="15">
                  <c:v>0.1583789930442247</c:v>
                </c:pt>
                <c:pt idx="16">
                  <c:v>0.15339527231718775</c:v>
                </c:pt>
                <c:pt idx="17">
                  <c:v>0.1585727443612946</c:v>
                </c:pt>
                <c:pt idx="18">
                  <c:v>0.1599257888223592</c:v>
                </c:pt>
                <c:pt idx="19">
                  <c:v>0.1552394377458156</c:v>
                </c:pt>
                <c:pt idx="20">
                  <c:v>0.15543168723614015</c:v>
                </c:pt>
                <c:pt idx="21">
                  <c:v>0.15066061442715506</c:v>
                </c:pt>
                <c:pt idx="22">
                  <c:v>0.15227741199574535</c:v>
                </c:pt>
                <c:pt idx="23">
                  <c:v>0.15633038582488967</c:v>
                </c:pt>
                <c:pt idx="24">
                  <c:v>0.1514223276463511</c:v>
                </c:pt>
                <c:pt idx="25">
                  <c:v>0.1530831960911037</c:v>
                </c:pt>
                <c:pt idx="26">
                  <c:v>0.14238868040458114</c:v>
                </c:pt>
                <c:pt idx="27">
                  <c:v>0.13594155240559513</c:v>
                </c:pt>
                <c:pt idx="28">
                  <c:v>0.1556536873288774</c:v>
                </c:pt>
                <c:pt idx="29">
                  <c:v>0.15619107541940497</c:v>
                </c:pt>
                <c:pt idx="30">
                  <c:v>0.14004708089861023</c:v>
                </c:pt>
                <c:pt idx="31">
                  <c:v>0.16132932801458916</c:v>
                </c:pt>
                <c:pt idx="32">
                  <c:v>0.14418108238682015</c:v>
                </c:pt>
                <c:pt idx="33">
                  <c:v>0.144034043176051</c:v>
                </c:pt>
                <c:pt idx="34">
                  <c:v>0.14121238592932667</c:v>
                </c:pt>
                <c:pt idx="35">
                  <c:v>0.14110115624611663</c:v>
                </c:pt>
                <c:pt idx="36">
                  <c:v>0.14110998613513542</c:v>
                </c:pt>
                <c:pt idx="37">
                  <c:v>0.16575728725115066</c:v>
                </c:pt>
                <c:pt idx="38">
                  <c:v>0.12935400808934566</c:v>
                </c:pt>
                <c:pt idx="39">
                  <c:v>0.13913046245784721</c:v>
                </c:pt>
                <c:pt idx="40">
                  <c:v>0.15678011839938488</c:v>
                </c:pt>
                <c:pt idx="41">
                  <c:v>0.14119727578584013</c:v>
                </c:pt>
                <c:pt idx="42">
                  <c:v>0.14915594290587647</c:v>
                </c:pt>
                <c:pt idx="43">
                  <c:v>0.16651079968469765</c:v>
                </c:pt>
                <c:pt idx="44">
                  <c:v>0.1666693959104728</c:v>
                </c:pt>
                <c:pt idx="45">
                  <c:v>0.1646630683625789</c:v>
                </c:pt>
                <c:pt idx="46">
                  <c:v>0.134165089353317</c:v>
                </c:pt>
                <c:pt idx="47">
                  <c:v>0.1562665035944088</c:v>
                </c:pt>
                <c:pt idx="48">
                  <c:v>0.1356655610874865</c:v>
                </c:pt>
                <c:pt idx="49">
                  <c:v>0.11953524504985108</c:v>
                </c:pt>
                <c:pt idx="50">
                  <c:v>0.11804072970419649</c:v>
                </c:pt>
                <c:pt idx="51">
                  <c:v>0.10925448103545904</c:v>
                </c:pt>
                <c:pt idx="52">
                  <c:v>0.1732763997874198</c:v>
                </c:pt>
                <c:pt idx="53">
                  <c:v>0.2564780012788713</c:v>
                </c:pt>
                <c:pt idx="54">
                  <c:v>0.1732763997874198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esserat De Bellef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08808290155441"/>
          <c:min val="0.04613610149942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50.8467</c:v>
                </c:pt>
                <c:pt idx="1">
                  <c:v>51.8</c:v>
                </c:pt>
                <c:pt idx="2">
                  <c:v>50.8082</c:v>
                </c:pt>
                <c:pt idx="3">
                  <c:v>51.208</c:v>
                </c:pt>
                <c:pt idx="4">
                  <c:v>60.6167</c:v>
                </c:pt>
                <c:pt idx="5">
                  <c:v>61.5593</c:v>
                </c:pt>
                <c:pt idx="6">
                  <c:v>59.5484</c:v>
                </c:pt>
                <c:pt idx="7">
                  <c:v>57.56</c:v>
                </c:pt>
                <c:pt idx="8">
                  <c:v>64.2105</c:v>
                </c:pt>
                <c:pt idx="9">
                  <c:v>57.3846</c:v>
                </c:pt>
                <c:pt idx="10">
                  <c:v>60.2636</c:v>
                </c:pt>
                <c:pt idx="11">
                  <c:v>60.3333</c:v>
                </c:pt>
                <c:pt idx="12">
                  <c:v>61.9655</c:v>
                </c:pt>
                <c:pt idx="13">
                  <c:v>59.3194</c:v>
                </c:pt>
                <c:pt idx="14">
                  <c:v>61.254</c:v>
                </c:pt>
                <c:pt idx="15">
                  <c:v>58.6522</c:v>
                </c:pt>
                <c:pt idx="16">
                  <c:v>58.5467</c:v>
                </c:pt>
                <c:pt idx="17">
                  <c:v>58.7846</c:v>
                </c:pt>
                <c:pt idx="18">
                  <c:v>58.7887</c:v>
                </c:pt>
                <c:pt idx="19">
                  <c:v>62.18</c:v>
                </c:pt>
                <c:pt idx="20">
                  <c:v>59.0167</c:v>
                </c:pt>
                <c:pt idx="21">
                  <c:v>59.9333</c:v>
                </c:pt>
                <c:pt idx="22">
                  <c:v>62.6515</c:v>
                </c:pt>
                <c:pt idx="23">
                  <c:v>63.7179</c:v>
                </c:pt>
                <c:pt idx="24">
                  <c:v>59.038</c:v>
                </c:pt>
                <c:pt idx="25">
                  <c:v>63.549</c:v>
                </c:pt>
                <c:pt idx="26">
                  <c:v>60.6613</c:v>
                </c:pt>
                <c:pt idx="27">
                  <c:v>61.0426</c:v>
                </c:pt>
                <c:pt idx="28">
                  <c:v>58.7708</c:v>
                </c:pt>
                <c:pt idx="29">
                  <c:v>62.0</c:v>
                </c:pt>
                <c:pt idx="30">
                  <c:v>64.2051</c:v>
                </c:pt>
                <c:pt idx="31">
                  <c:v>57.1515</c:v>
                </c:pt>
                <c:pt idx="32">
                  <c:v>60.4615</c:v>
                </c:pt>
                <c:pt idx="33">
                  <c:v>60.1538</c:v>
                </c:pt>
                <c:pt idx="34">
                  <c:v>59.7167</c:v>
                </c:pt>
                <c:pt idx="35">
                  <c:v>63.7143</c:v>
                </c:pt>
                <c:pt idx="36">
                  <c:v>61.1842</c:v>
                </c:pt>
                <c:pt idx="37">
                  <c:v>60.2075</c:v>
                </c:pt>
                <c:pt idx="38">
                  <c:v>62.4643</c:v>
                </c:pt>
                <c:pt idx="39">
                  <c:v>60.4483</c:v>
                </c:pt>
                <c:pt idx="40">
                  <c:v>55.6947</c:v>
                </c:pt>
                <c:pt idx="41">
                  <c:v>52.375</c:v>
                </c:pt>
                <c:pt idx="42">
                  <c:v>58.1026</c:v>
                </c:pt>
                <c:pt idx="43">
                  <c:v>54.0941</c:v>
                </c:pt>
                <c:pt idx="44">
                  <c:v>54.4494</c:v>
                </c:pt>
                <c:pt idx="45">
                  <c:v>53.7614</c:v>
                </c:pt>
                <c:pt idx="46">
                  <c:v>55.1881</c:v>
                </c:pt>
                <c:pt idx="47">
                  <c:v>52.8281</c:v>
                </c:pt>
                <c:pt idx="48">
                  <c:v>54.8889</c:v>
                </c:pt>
                <c:pt idx="49">
                  <c:v>55.0</c:v>
                </c:pt>
                <c:pt idx="50">
                  <c:v>56.9341</c:v>
                </c:pt>
                <c:pt idx="51">
                  <c:v>57.1116</c:v>
                </c:pt>
                <c:pt idx="52">
                  <c:v>55.388</c:v>
                </c:pt>
                <c:pt idx="53">
                  <c:v>54.4091</c:v>
                </c:pt>
                <c:pt idx="54">
                  <c:v>57.1493</c:v>
                </c:pt>
                <c:pt idx="55">
                  <c:v>56.2203</c:v>
                </c:pt>
                <c:pt idx="56">
                  <c:v>54.4744</c:v>
                </c:pt>
                <c:pt idx="57">
                  <c:v>54.4051</c:v>
                </c:pt>
                <c:pt idx="58">
                  <c:v>54.6444</c:v>
                </c:pt>
                <c:pt idx="59">
                  <c:v>56.6471</c:v>
                </c:pt>
                <c:pt idx="60">
                  <c:v>54.5469</c:v>
                </c:pt>
                <c:pt idx="61">
                  <c:v>54.2192</c:v>
                </c:pt>
                <c:pt idx="62">
                  <c:v>53.5333</c:v>
                </c:pt>
                <c:pt idx="63">
                  <c:v>55.5781</c:v>
                </c:pt>
                <c:pt idx="64">
                  <c:v>53.6835</c:v>
                </c:pt>
                <c:pt idx="65">
                  <c:v>56.125</c:v>
                </c:pt>
                <c:pt idx="66">
                  <c:v>57.1875</c:v>
                </c:pt>
                <c:pt idx="67">
                  <c:v>44.2234</c:v>
                </c:pt>
                <c:pt idx="68">
                  <c:v>44.1462</c:v>
                </c:pt>
                <c:pt idx="69">
                  <c:v>44.0153</c:v>
                </c:pt>
                <c:pt idx="70">
                  <c:v>43.7634</c:v>
                </c:pt>
                <c:pt idx="71">
                  <c:v>51.1379</c:v>
                </c:pt>
                <c:pt idx="72">
                  <c:v>56.5658</c:v>
                </c:pt>
                <c:pt idx="73">
                  <c:v>54.7838</c:v>
                </c:pt>
                <c:pt idx="74">
                  <c:v>53.1667</c:v>
                </c:pt>
                <c:pt idx="75">
                  <c:v>53.7734</c:v>
                </c:pt>
                <c:pt idx="76">
                  <c:v>54.2857</c:v>
                </c:pt>
                <c:pt idx="77">
                  <c:v>55.3521</c:v>
                </c:pt>
              </c:numCache>
            </c:numRef>
          </c:xVal>
          <c:yVal>
            <c:numRef>
              <c:f>Sheet1!$B$2:$B$79</c:f>
              <c:numCache>
                <c:formatCode>General</c:formatCode>
                <c:ptCount val="78"/>
                <c:pt idx="0">
                  <c:v>0.12679628064243448</c:v>
                </c:pt>
                <c:pt idx="1">
                  <c:v>0.1159678858162355</c:v>
                </c:pt>
                <c:pt idx="2">
                  <c:v>0.12362404741744284</c:v>
                </c:pt>
                <c:pt idx="3">
                  <c:v>0.11606313834726091</c:v>
                </c:pt>
                <c:pt idx="4">
                  <c:v>0.08379888268156424</c:v>
                </c:pt>
                <c:pt idx="5">
                  <c:v>0.06562847608453838</c:v>
                </c:pt>
                <c:pt idx="6">
                  <c:v>0.10665137614678899</c:v>
                </c:pt>
                <c:pt idx="7">
                  <c:v>0.05767012687427912</c:v>
                </c:pt>
                <c:pt idx="8">
                  <c:v>0.0981404958677686</c:v>
                </c:pt>
                <c:pt idx="9">
                  <c:v>0.13554502369668248</c:v>
                </c:pt>
                <c:pt idx="10">
                  <c:v>0.20219435736677116</c:v>
                </c:pt>
                <c:pt idx="11">
                  <c:v>0.1708542713567839</c:v>
                </c:pt>
                <c:pt idx="12">
                  <c:v>0.09586776859504133</c:v>
                </c:pt>
                <c:pt idx="13">
                  <c:v>0.09461235216819974</c:v>
                </c:pt>
                <c:pt idx="14">
                  <c:v>0.0945945945945946</c:v>
                </c:pt>
                <c:pt idx="15">
                  <c:v>0.12365591397849462</c:v>
                </c:pt>
                <c:pt idx="16">
                  <c:v>0.11380880121396054</c:v>
                </c:pt>
                <c:pt idx="17">
                  <c:v>0.1079734219269103</c:v>
                </c:pt>
                <c:pt idx="18">
                  <c:v>0.11544715447154472</c:v>
                </c:pt>
                <c:pt idx="19">
                  <c:v>0.07961783439490445</c:v>
                </c:pt>
                <c:pt idx="20">
                  <c:v>0.06711409395973154</c:v>
                </c:pt>
                <c:pt idx="21">
                  <c:v>0.08152173913043478</c:v>
                </c:pt>
                <c:pt idx="22">
                  <c:v>0.09880239520958084</c:v>
                </c:pt>
                <c:pt idx="23">
                  <c:v>0.08853575482406356</c:v>
                </c:pt>
                <c:pt idx="24">
                  <c:v>0.11285714285714285</c:v>
                </c:pt>
                <c:pt idx="25">
                  <c:v>0.07183098591549296</c:v>
                </c:pt>
                <c:pt idx="26">
                  <c:v>0.08157894736842106</c:v>
                </c:pt>
                <c:pt idx="27">
                  <c:v>0.063257065948856</c:v>
                </c:pt>
                <c:pt idx="28">
                  <c:v>0.06512890094979647</c:v>
                </c:pt>
                <c:pt idx="29">
                  <c:v>0.07085561497326204</c:v>
                </c:pt>
                <c:pt idx="30">
                  <c:v>0.07975460122699386</c:v>
                </c:pt>
                <c:pt idx="31">
                  <c:v>0.07621247113163972</c:v>
                </c:pt>
                <c:pt idx="32">
                  <c:v>0.08074534161490683</c:v>
                </c:pt>
                <c:pt idx="33">
                  <c:v>0.09006928406466513</c:v>
                </c:pt>
                <c:pt idx="34">
                  <c:v>0.09188361408882083</c:v>
                </c:pt>
                <c:pt idx="35">
                  <c:v>0.1087378640776699</c:v>
                </c:pt>
                <c:pt idx="36">
                  <c:v>0.06643356643356643</c:v>
                </c:pt>
                <c:pt idx="37">
                  <c:v>0.08079268292682927</c:v>
                </c:pt>
                <c:pt idx="38">
                  <c:v>0.1001788908765653</c:v>
                </c:pt>
                <c:pt idx="39">
                  <c:v>0.0919175911251981</c:v>
                </c:pt>
                <c:pt idx="40">
                  <c:v>0.17025089605734767</c:v>
                </c:pt>
                <c:pt idx="41">
                  <c:v>0.12698412698412698</c:v>
                </c:pt>
                <c:pt idx="42">
                  <c:v>0.1729490022172949</c:v>
                </c:pt>
                <c:pt idx="43">
                  <c:v>0.10353227771010962</c:v>
                </c:pt>
                <c:pt idx="44">
                  <c:v>0.09737417943107221</c:v>
                </c:pt>
                <c:pt idx="45">
                  <c:v>0.10837438423645321</c:v>
                </c:pt>
                <c:pt idx="46">
                  <c:v>0.09395348837209302</c:v>
                </c:pt>
                <c:pt idx="47">
                  <c:v>0.12075471698113208</c:v>
                </c:pt>
                <c:pt idx="48">
                  <c:v>0.12217194570135746</c:v>
                </c:pt>
                <c:pt idx="49">
                  <c:v>0.10771992818671454</c:v>
                </c:pt>
                <c:pt idx="50">
                  <c:v>0.10164333536214243</c:v>
                </c:pt>
                <c:pt idx="51">
                  <c:v>0.10879067508499271</c:v>
                </c:pt>
                <c:pt idx="52">
                  <c:v>0.13000520020800832</c:v>
                </c:pt>
                <c:pt idx="53">
                  <c:v>0.08483290488431877</c:v>
                </c:pt>
                <c:pt idx="54">
                  <c:v>0.08385481852315395</c:v>
                </c:pt>
                <c:pt idx="55">
                  <c:v>0.0880597014925373</c:v>
                </c:pt>
                <c:pt idx="56">
                  <c:v>0.12460063897763578</c:v>
                </c:pt>
                <c:pt idx="57">
                  <c:v>0.1490566037735849</c:v>
                </c:pt>
                <c:pt idx="58">
                  <c:v>0.141287284144427</c:v>
                </c:pt>
                <c:pt idx="59">
                  <c:v>0.13934426229508196</c:v>
                </c:pt>
                <c:pt idx="60">
                  <c:v>0.14988290398126464</c:v>
                </c:pt>
                <c:pt idx="61">
                  <c:v>0.1655328798185941</c:v>
                </c:pt>
                <c:pt idx="62">
                  <c:v>0.176056338028169</c:v>
                </c:pt>
                <c:pt idx="63">
                  <c:v>0.14678899082568808</c:v>
                </c:pt>
                <c:pt idx="64">
                  <c:v>0.14766355140186915</c:v>
                </c:pt>
                <c:pt idx="65">
                  <c:v>0.12173913043478261</c:v>
                </c:pt>
                <c:pt idx="66">
                  <c:v>0.10714285714285714</c:v>
                </c:pt>
                <c:pt idx="67">
                  <c:v>0.44359756097560976</c:v>
                </c:pt>
                <c:pt idx="68">
                  <c:v>0.4379001280409731</c:v>
                </c:pt>
                <c:pt idx="69">
                  <c:v>0.5090673575129534</c:v>
                </c:pt>
                <c:pt idx="70">
                  <c:v>0.48880597014925375</c:v>
                </c:pt>
                <c:pt idx="71">
                  <c:v>0.23450134770889489</c:v>
                </c:pt>
                <c:pt idx="72">
                  <c:v>0.12317666126418152</c:v>
                </c:pt>
                <c:pt idx="73">
                  <c:v>0.11653543307086614</c:v>
                </c:pt>
                <c:pt idx="74">
                  <c:v>0.20202020202020202</c:v>
                </c:pt>
                <c:pt idx="75">
                  <c:v>0.2365988909426987</c:v>
                </c:pt>
                <c:pt idx="76">
                  <c:v>0.18356643356643357</c:v>
                </c:pt>
                <c:pt idx="77">
                  <c:v>0.12956204379562045</c:v>
                </c:pt>
              </c:numCache>
            </c:numRef>
          </c:yVal>
          <c:smooth val="0"/>
          <c:extLst>
            <c:ext xmlns:c16="http://schemas.microsoft.com/office/drawing/2014/chart" uri="{C3380CC4-5D6E-409C-BE32-E72D297353CC}">
              <c16:uniqueId val="{00000000-F32D-48B7-BC20-E66FC6253BAD}"/>
            </c:ext>
          </c:extLst>
        </c:ser>
        <c:ser>
          <c:idx val="1"/>
          <c:order val="1"/>
          <c:tx>
            <c:strRef>
              <c:f>Sheet1!$B$8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82:$A$133</c:f>
              <c:numCache>
                <c:formatCode>General</c:formatCode>
                <c:ptCount val="52"/>
                <c:pt idx="0">
                  <c:v>55.7215</c:v>
                </c:pt>
                <c:pt idx="1">
                  <c:v>55.0862</c:v>
                </c:pt>
                <c:pt idx="2">
                  <c:v>59.093</c:v>
                </c:pt>
                <c:pt idx="3">
                  <c:v>53.209</c:v>
                </c:pt>
                <c:pt idx="4">
                  <c:v>55.359</c:v>
                </c:pt>
                <c:pt idx="5">
                  <c:v>53.8</c:v>
                </c:pt>
                <c:pt idx="6">
                  <c:v>54.5882</c:v>
                </c:pt>
                <c:pt idx="7">
                  <c:v>57.125</c:v>
                </c:pt>
                <c:pt idx="8">
                  <c:v>55.7679</c:v>
                </c:pt>
                <c:pt idx="9">
                  <c:v>55.0938</c:v>
                </c:pt>
                <c:pt idx="10">
                  <c:v>55.125</c:v>
                </c:pt>
                <c:pt idx="11">
                  <c:v>53.9524</c:v>
                </c:pt>
                <c:pt idx="12">
                  <c:v>53.0694</c:v>
                </c:pt>
                <c:pt idx="13">
                  <c:v>54.2941</c:v>
                </c:pt>
                <c:pt idx="14">
                  <c:v>54.4051</c:v>
                </c:pt>
                <c:pt idx="15">
                  <c:v>53.475</c:v>
                </c:pt>
                <c:pt idx="16">
                  <c:v>54.2338</c:v>
                </c:pt>
                <c:pt idx="17">
                  <c:v>54.3279</c:v>
                </c:pt>
                <c:pt idx="18">
                  <c:v>54.4643</c:v>
                </c:pt>
                <c:pt idx="19">
                  <c:v>53.6633</c:v>
                </c:pt>
                <c:pt idx="20">
                  <c:v>54.7</c:v>
                </c:pt>
                <c:pt idx="21">
                  <c:v>55.8</c:v>
                </c:pt>
                <c:pt idx="22">
                  <c:v>53.9082</c:v>
                </c:pt>
                <c:pt idx="23">
                  <c:v>53.5495</c:v>
                </c:pt>
                <c:pt idx="24">
                  <c:v>54.4573</c:v>
                </c:pt>
                <c:pt idx="25">
                  <c:v>54.7093</c:v>
                </c:pt>
                <c:pt idx="26">
                  <c:v>56.0541</c:v>
                </c:pt>
                <c:pt idx="27">
                  <c:v>57.2308</c:v>
                </c:pt>
                <c:pt idx="28">
                  <c:v>55.5714</c:v>
                </c:pt>
                <c:pt idx="29">
                  <c:v>54.0159</c:v>
                </c:pt>
                <c:pt idx="30">
                  <c:v>56.5167</c:v>
                </c:pt>
                <c:pt idx="31">
                  <c:v>54.3043</c:v>
                </c:pt>
                <c:pt idx="32">
                  <c:v>54.6372</c:v>
                </c:pt>
                <c:pt idx="33">
                  <c:v>53.3455</c:v>
                </c:pt>
                <c:pt idx="34">
                  <c:v>54.1642</c:v>
                </c:pt>
                <c:pt idx="35">
                  <c:v>55.4459</c:v>
                </c:pt>
                <c:pt idx="36">
                  <c:v>56.7143</c:v>
                </c:pt>
                <c:pt idx="37">
                  <c:v>53.9184</c:v>
                </c:pt>
                <c:pt idx="38">
                  <c:v>55.4107</c:v>
                </c:pt>
                <c:pt idx="39">
                  <c:v>53.7391</c:v>
                </c:pt>
                <c:pt idx="40">
                  <c:v>54.5333</c:v>
                </c:pt>
                <c:pt idx="41">
                  <c:v>56.3014</c:v>
                </c:pt>
                <c:pt idx="42">
                  <c:v>52.023</c:v>
                </c:pt>
                <c:pt idx="43">
                  <c:v>50.2536</c:v>
                </c:pt>
                <c:pt idx="44">
                  <c:v>48.8467</c:v>
                </c:pt>
                <c:pt idx="45">
                  <c:v>49.3876</c:v>
                </c:pt>
                <c:pt idx="46">
                  <c:v>55.1136</c:v>
                </c:pt>
                <c:pt idx="47">
                  <c:v>54.0</c:v>
                </c:pt>
                <c:pt idx="48">
                  <c:v>54.8333</c:v>
                </c:pt>
                <c:pt idx="49">
                  <c:v>53.1358</c:v>
                </c:pt>
                <c:pt idx="50">
                  <c:v>53.9452</c:v>
                </c:pt>
                <c:pt idx="51">
                  <c:v>55.6964</c:v>
                </c:pt>
              </c:numCache>
            </c:numRef>
          </c:xVal>
          <c:yVal>
            <c:numRef>
              <c:f>Sheet1!$B$82:$B$133</c:f>
              <c:numCache>
                <c:formatCode>General</c:formatCode>
                <c:ptCount val="52"/>
                <c:pt idx="0">
                  <c:v>0.1673728813559322</c:v>
                </c:pt>
                <c:pt idx="1">
                  <c:v>0.11350293542074363</c:v>
                </c:pt>
                <c:pt idx="2">
                  <c:v>0.08847736625514403</c:v>
                </c:pt>
                <c:pt idx="3">
                  <c:v>0.14596949891067537</c:v>
                </c:pt>
                <c:pt idx="4">
                  <c:v>0.11079545454545454</c:v>
                </c:pt>
                <c:pt idx="5">
                  <c:v>0.16129032258064516</c:v>
                </c:pt>
                <c:pt idx="6">
                  <c:v>0.11971830985915492</c:v>
                </c:pt>
                <c:pt idx="7">
                  <c:v>0.12658227848101267</c:v>
                </c:pt>
                <c:pt idx="8">
                  <c:v>0.1275626423690205</c:v>
                </c:pt>
                <c:pt idx="9">
                  <c:v>0.128</c:v>
                </c:pt>
                <c:pt idx="10">
                  <c:v>0.17167381974248927</c:v>
                </c:pt>
                <c:pt idx="11">
                  <c:v>0.125</c:v>
                </c:pt>
                <c:pt idx="12">
                  <c:v>0.16179775280898875</c:v>
                </c:pt>
                <c:pt idx="13">
                  <c:v>0.1705685618729097</c:v>
                </c:pt>
                <c:pt idx="14">
                  <c:v>0.16952789699570817</c:v>
                </c:pt>
                <c:pt idx="15">
                  <c:v>0.17204301075268819</c:v>
                </c:pt>
                <c:pt idx="16">
                  <c:v>0.16775599128540306</c:v>
                </c:pt>
                <c:pt idx="17">
                  <c:v>0.14352941176470588</c:v>
                </c:pt>
                <c:pt idx="18">
                  <c:v>0.14788732394366197</c:v>
                </c:pt>
                <c:pt idx="19">
                  <c:v>0.19291338582677164</c:v>
                </c:pt>
                <c:pt idx="20">
                  <c:v>0.15358361774744028</c:v>
                </c:pt>
                <c:pt idx="21">
                  <c:v>0.12168141592920353</c:v>
                </c:pt>
                <c:pt idx="22">
                  <c:v>0.11225658648339061</c:v>
                </c:pt>
                <c:pt idx="23">
                  <c:v>0.07979870596693027</c:v>
                </c:pt>
                <c:pt idx="24">
                  <c:v>0.1421759861291721</c:v>
                </c:pt>
                <c:pt idx="25">
                  <c:v>0.11344327836081959</c:v>
                </c:pt>
                <c:pt idx="26">
                  <c:v>0.10818713450292397</c:v>
                </c:pt>
                <c:pt idx="27">
                  <c:v>0.1346153846153846</c:v>
                </c:pt>
                <c:pt idx="28">
                  <c:v>0.10096153846153846</c:v>
                </c:pt>
                <c:pt idx="29">
                  <c:v>0.11580882352941177</c:v>
                </c:pt>
                <c:pt idx="30">
                  <c:v>0.09419152276295134</c:v>
                </c:pt>
                <c:pt idx="31">
                  <c:v>0.16350710900473933</c:v>
                </c:pt>
                <c:pt idx="32">
                  <c:v>0.2100371747211896</c:v>
                </c:pt>
                <c:pt idx="33">
                  <c:v>0.17027863777089783</c:v>
                </c:pt>
                <c:pt idx="34">
                  <c:v>0.17402597402597403</c:v>
                </c:pt>
                <c:pt idx="35">
                  <c:v>0.18546365914786966</c:v>
                </c:pt>
                <c:pt idx="36">
                  <c:v>0.12531969309462915</c:v>
                </c:pt>
                <c:pt idx="37">
                  <c:v>0.1346153846153846</c:v>
                </c:pt>
                <c:pt idx="38">
                  <c:v>0.1342925659472422</c:v>
                </c:pt>
                <c:pt idx="39">
                  <c:v>0.1564625850340136</c:v>
                </c:pt>
                <c:pt idx="40">
                  <c:v>0.1744186046511628</c:v>
                </c:pt>
                <c:pt idx="41">
                  <c:v>0.15766738660907129</c:v>
                </c:pt>
                <c:pt idx="42">
                  <c:v>0.20518867924528303</c:v>
                </c:pt>
                <c:pt idx="43">
                  <c:v>0.27111984282907664</c:v>
                </c:pt>
                <c:pt idx="44">
                  <c:v>0.28482328482328484</c:v>
                </c:pt>
                <c:pt idx="45">
                  <c:v>0.24807692307692308</c:v>
                </c:pt>
                <c:pt idx="46">
                  <c:v>0.10304449648711944</c:v>
                </c:pt>
                <c:pt idx="47">
                  <c:v>0.12705882352941175</c:v>
                </c:pt>
                <c:pt idx="48">
                  <c:v>0.11785714285714285</c:v>
                </c:pt>
                <c:pt idx="49">
                  <c:v>0.150278293135436</c:v>
                </c:pt>
                <c:pt idx="50">
                  <c:v>0.14065510597302505</c:v>
                </c:pt>
                <c:pt idx="51">
                  <c:v>0.11594202898550725</c:v>
                </c:pt>
              </c:numCache>
            </c:numRef>
          </c:yVal>
          <c:smooth val="0"/>
          <c:extLst>
            <c:ext xmlns:c16="http://schemas.microsoft.com/office/drawing/2014/chart" uri="{C3380CC4-5D6E-409C-BE32-E72D297353CC}">
              <c16:uniqueId val="{00000002-F32D-48B7-BC20-E66FC6253BAD}"/>
            </c:ext>
          </c:extLst>
        </c:ser>
        <c:ser>
          <c:idx val="2"/>
          <c:order val="2"/>
          <c:tx>
            <c:strRef>
              <c:f>Sheet1!$B$135</c:f>
              <c:strCache>
                <c:ptCount val="1"/>
                <c:pt idx="0">
                  <c:v>Custom Linep3yQ</c:v>
                </c:pt>
              </c:strCache>
            </c:strRef>
          </c:tx>
          <c:spPr>
            <a:ln w="19050" cap="rnd">
              <a:solidFill>
                <a:srgbClr val="C00000"/>
              </a:solidFill>
              <a:prstDash val="sysDot"/>
              <a:round/>
            </a:ln>
            <a:effectLst/>
          </c:spPr>
          <c:marker>
            <c:symbol val="none"/>
          </c:marker>
          <c:xVal>
            <c:numRef>
              <c:f>Sheet1!$A$136:$A$137</c:f>
              <c:numCache>
                <c:formatCode>General</c:formatCode>
                <c:ptCount val="2"/>
                <c:pt idx="0">
                  <c:v>0</c:v>
                </c:pt>
                <c:pt idx="1">
                  <c:v>48.260210800955335</c:v>
                </c:pt>
              </c:numCache>
            </c:numRef>
          </c:xVal>
          <c:yVal>
            <c:numRef>
              <c:f>Sheet1!$B$136:$B$137</c:f>
              <c:numCache>
                <c:formatCode>General</c:formatCode>
                <c:ptCount val="2"/>
                <c:pt idx="0">
                  <c:v>0.2564780012788713</c:v>
                </c:pt>
                <c:pt idx="1">
                  <c:v>0.2564780012788713</c:v>
                </c:pt>
              </c:numCache>
            </c:numRef>
          </c:yVal>
          <c:smooth val="0"/>
          <c:extLst>
            <c:ext xmlns:c16="http://schemas.microsoft.com/office/drawing/2014/chart" uri="{C3380CC4-5D6E-409C-BE32-E72D297353CC}">
              <c16:uniqueId val="{00000003-F32D-48B7-BC20-E66FC6253BAD}"/>
            </c:ext>
          </c:extLst>
        </c:ser>
        <c:ser>
          <c:idx val="3"/>
          <c:order val="3"/>
          <c:tx>
            <c:strRef>
              <c:f>Sheet1!$B$13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0:$A$141</c:f>
              <c:numCache>
                <c:formatCode>General</c:formatCode>
                <c:ptCount val="2"/>
                <c:pt idx="0">
                  <c:v>48.260210800955335</c:v>
                </c:pt>
                <c:pt idx="1">
                  <c:v>48.260210800955335</c:v>
                </c:pt>
              </c:numCache>
            </c:numRef>
          </c:xVal>
          <c:yVal>
            <c:numRef>
              <c:f>Sheet1!$B$140:$B$141</c:f>
              <c:numCache>
                <c:formatCode>General</c:formatCode>
                <c:ptCount val="2"/>
                <c:pt idx="0">
                  <c:v>0.25647800127887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4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44:$A$145</c:f>
              <c:numCache>
                <c:formatCode>General</c:formatCode>
                <c:ptCount val="2"/>
                <c:pt idx="0">
                  <c:v>0</c:v>
                </c:pt>
                <c:pt idx="1">
                  <c:v>53.05467361138199</c:v>
                </c:pt>
              </c:numCache>
            </c:numRef>
          </c:xVal>
          <c:yVal>
            <c:numRef>
              <c:f>Sheet1!$B$144:$B$145</c:f>
              <c:numCache>
                <c:formatCode>General</c:formatCode>
                <c:ptCount val="2"/>
                <c:pt idx="0">
                  <c:v>0.1732763997874198</c:v>
                </c:pt>
                <c:pt idx="1">
                  <c:v>0.1732763997874198</c:v>
                </c:pt>
              </c:numCache>
            </c:numRef>
          </c:yVal>
          <c:smooth val="0"/>
          <c:extLst>
            <c:ext xmlns:c16="http://schemas.microsoft.com/office/drawing/2014/chart" uri="{C3380CC4-5D6E-409C-BE32-E72D297353CC}">
              <c16:uniqueId val="{0000000A-F32D-48B7-BC20-E66FC6253BAD}"/>
            </c:ext>
          </c:extLst>
        </c:ser>
        <c:ser>
          <c:idx val="5"/>
          <c:order val="5"/>
          <c:tx>
            <c:strRef>
              <c:f>Sheet1!$B$14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8:$A$149</c:f>
              <c:numCache>
                <c:formatCode>General</c:formatCode>
                <c:ptCount val="2"/>
                <c:pt idx="0">
                  <c:v>53.05467361138199</c:v>
                </c:pt>
                <c:pt idx="1">
                  <c:v>53.05467361138199</c:v>
                </c:pt>
              </c:numCache>
            </c:numRef>
          </c:xVal>
          <c:yVal>
            <c:numRef>
              <c:f>Sheet1!$B$148:$B$149</c:f>
              <c:numCache>
                <c:formatCode>General</c:formatCode>
                <c:ptCount val="2"/>
                <c:pt idx="0">
                  <c:v>0.173276399787419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5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52:$A$153</c:f>
              <c:numCache>
                <c:formatCode>General</c:formatCode>
                <c:ptCount val="2"/>
                <c:pt idx="0">
                  <c:v>0</c:v>
                </c:pt>
                <c:pt idx="1">
                  <c:v>53.05467361138199</c:v>
                </c:pt>
              </c:numCache>
            </c:numRef>
          </c:xVal>
          <c:yVal>
            <c:numRef>
              <c:f>Sheet1!$B$152:$B$153</c:f>
              <c:numCache>
                <c:formatCode>General</c:formatCode>
                <c:ptCount val="2"/>
                <c:pt idx="0">
                  <c:v>0.17327639978741985</c:v>
                </c:pt>
                <c:pt idx="1">
                  <c:v>0.17327639978741985</c:v>
                </c:pt>
              </c:numCache>
            </c:numRef>
          </c:yVal>
          <c:smooth val="0"/>
          <c:extLst>
            <c:ext xmlns:c16="http://schemas.microsoft.com/office/drawing/2014/chart" uri="{C3380CC4-5D6E-409C-BE32-E72D297353CC}">
              <c16:uniqueId val="{00000011-F32D-48B7-BC20-E66FC6253BAD}"/>
            </c:ext>
          </c:extLst>
        </c:ser>
        <c:ser>
          <c:idx val="7"/>
          <c:order val="7"/>
          <c:tx>
            <c:strRef>
              <c:f>Sheet1!$B$15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56:$A$157</c:f>
              <c:numCache>
                <c:formatCode>General</c:formatCode>
                <c:ptCount val="2"/>
                <c:pt idx="0">
                  <c:v>53.05467361138199</c:v>
                </c:pt>
                <c:pt idx="1">
                  <c:v>53.05467361138199</c:v>
                </c:pt>
              </c:numCache>
            </c:numRef>
          </c:xVal>
          <c:yVal>
            <c:numRef>
              <c:f>Sheet1!$B$156:$B$157</c:f>
              <c:numCache>
                <c:formatCode>General</c:formatCode>
                <c:ptCount val="2"/>
                <c:pt idx="0">
                  <c:v>0.173276399787419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5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60:$A$214</c:f>
              <c:numCache>
                <c:formatCode>General</c:formatCode>
                <c:ptCount val="55"/>
                <c:pt idx="0">
                  <c:v>55.7215</c:v>
                </c:pt>
                <c:pt idx="1">
                  <c:v>55.0862</c:v>
                </c:pt>
                <c:pt idx="2">
                  <c:v>59.093</c:v>
                </c:pt>
                <c:pt idx="3">
                  <c:v>53.209</c:v>
                </c:pt>
                <c:pt idx="4">
                  <c:v>55.359</c:v>
                </c:pt>
                <c:pt idx="5">
                  <c:v>53.8</c:v>
                </c:pt>
                <c:pt idx="6">
                  <c:v>54.5882</c:v>
                </c:pt>
                <c:pt idx="7">
                  <c:v>57.125</c:v>
                </c:pt>
                <c:pt idx="8">
                  <c:v>55.7679</c:v>
                </c:pt>
                <c:pt idx="9">
                  <c:v>55.0938</c:v>
                </c:pt>
                <c:pt idx="10">
                  <c:v>55.125</c:v>
                </c:pt>
                <c:pt idx="11">
                  <c:v>53.9524</c:v>
                </c:pt>
                <c:pt idx="12">
                  <c:v>53.0694</c:v>
                </c:pt>
                <c:pt idx="13">
                  <c:v>54.2941</c:v>
                </c:pt>
                <c:pt idx="14">
                  <c:v>54.4051</c:v>
                </c:pt>
                <c:pt idx="15">
                  <c:v>53.475</c:v>
                </c:pt>
                <c:pt idx="16">
                  <c:v>54.2338</c:v>
                </c:pt>
                <c:pt idx="17">
                  <c:v>54.3279</c:v>
                </c:pt>
                <c:pt idx="18">
                  <c:v>54.4643</c:v>
                </c:pt>
                <c:pt idx="19">
                  <c:v>53.6633</c:v>
                </c:pt>
                <c:pt idx="20">
                  <c:v>54.7</c:v>
                </c:pt>
                <c:pt idx="21">
                  <c:v>55.8</c:v>
                </c:pt>
                <c:pt idx="22">
                  <c:v>53.9082</c:v>
                </c:pt>
                <c:pt idx="23">
                  <c:v>53.5495</c:v>
                </c:pt>
                <c:pt idx="24">
                  <c:v>54.4573</c:v>
                </c:pt>
                <c:pt idx="25">
                  <c:v>54.7093</c:v>
                </c:pt>
                <c:pt idx="26">
                  <c:v>56.0541</c:v>
                </c:pt>
                <c:pt idx="27">
                  <c:v>57.2308</c:v>
                </c:pt>
                <c:pt idx="28">
                  <c:v>55.5714</c:v>
                </c:pt>
                <c:pt idx="29">
                  <c:v>54.0159</c:v>
                </c:pt>
                <c:pt idx="30">
                  <c:v>56.5167</c:v>
                </c:pt>
                <c:pt idx="31">
                  <c:v>54.3043</c:v>
                </c:pt>
                <c:pt idx="32">
                  <c:v>54.6372</c:v>
                </c:pt>
                <c:pt idx="33">
                  <c:v>53.3455</c:v>
                </c:pt>
                <c:pt idx="34">
                  <c:v>54.1642</c:v>
                </c:pt>
                <c:pt idx="35">
                  <c:v>55.4459</c:v>
                </c:pt>
                <c:pt idx="36">
                  <c:v>56.7143</c:v>
                </c:pt>
                <c:pt idx="37">
                  <c:v>53.9184</c:v>
                </c:pt>
                <c:pt idx="38">
                  <c:v>55.4107</c:v>
                </c:pt>
                <c:pt idx="39">
                  <c:v>53.7391</c:v>
                </c:pt>
                <c:pt idx="40">
                  <c:v>54.5333</c:v>
                </c:pt>
                <c:pt idx="41">
                  <c:v>56.3014</c:v>
                </c:pt>
                <c:pt idx="42">
                  <c:v>52.023</c:v>
                </c:pt>
                <c:pt idx="43">
                  <c:v>50.2536</c:v>
                </c:pt>
                <c:pt idx="44">
                  <c:v>48.8467</c:v>
                </c:pt>
                <c:pt idx="45">
                  <c:v>49.3876</c:v>
                </c:pt>
                <c:pt idx="46">
                  <c:v>55.1136</c:v>
                </c:pt>
                <c:pt idx="47">
                  <c:v>54.0</c:v>
                </c:pt>
                <c:pt idx="48">
                  <c:v>54.8333</c:v>
                </c:pt>
                <c:pt idx="49">
                  <c:v>53.1358</c:v>
                </c:pt>
                <c:pt idx="50">
                  <c:v>53.9452</c:v>
                </c:pt>
                <c:pt idx="51">
                  <c:v>55.6964</c:v>
                </c:pt>
                <c:pt idx="52">
                  <c:v>53.05467361138199</c:v>
                </c:pt>
                <c:pt idx="53">
                  <c:v>48.260210800955335</c:v>
                </c:pt>
                <c:pt idx="54">
                  <c:v>53.05467361138199</c:v>
                </c:pt>
              </c:numCache>
            </c:numRef>
          </c:xVal>
          <c:yVal>
            <c:numRef>
              <c:f>Sheet1!$B$160:$B$214</c:f>
              <c:numCache>
                <c:formatCode>General</c:formatCode>
                <c:ptCount val="55"/>
                <c:pt idx="0">
                  <c:v>0.12699713238959076</c:v>
                </c:pt>
                <c:pt idx="1">
                  <c:v>0.13802192901801957</c:v>
                </c:pt>
                <c:pt idx="2">
                  <c:v>0.06848918050426445</c:v>
                </c:pt>
                <c:pt idx="3">
                  <c:v>0.170598268119053</c:v>
                </c:pt>
                <c:pt idx="4">
                  <c:v>0.1332878435147371</c:v>
                </c:pt>
                <c:pt idx="5">
                  <c:v>0.16034223977433182</c:v>
                </c:pt>
                <c:pt idx="6">
                  <c:v>0.1466640645775309</c:v>
                </c:pt>
                <c:pt idx="7">
                  <c:v>0.10264123428161054</c:v>
                </c:pt>
                <c:pt idx="8">
                  <c:v>0.1261919213655721</c:v>
                </c:pt>
                <c:pt idx="9">
                  <c:v>0.13789004100546476</c:v>
                </c:pt>
                <c:pt idx="10">
                  <c:v>0.13734860600655563</c:v>
                </c:pt>
                <c:pt idx="11">
                  <c:v>0.15769753804889097</c:v>
                </c:pt>
                <c:pt idx="12">
                  <c:v>0.17302084266545426</c:v>
                </c:pt>
                <c:pt idx="13">
                  <c:v>0.15176778358968412</c:v>
                </c:pt>
                <c:pt idx="14">
                  <c:v>0.14984152445894972</c:v>
                </c:pt>
                <c:pt idx="15">
                  <c:v>0.16598218767963535</c:v>
                </c:pt>
                <c:pt idx="16">
                  <c:v>0.15281421084719116</c:v>
                </c:pt>
                <c:pt idx="17">
                  <c:v>0.1511812290075325</c:v>
                </c:pt>
                <c:pt idx="18">
                  <c:v>0.14881418625589127</c:v>
                </c:pt>
                <c:pt idx="19">
                  <c:v>0.16271448863173177</c:v>
                </c:pt>
                <c:pt idx="20">
                  <c:v>0.1447239224981064</c:v>
                </c:pt>
                <c:pt idx="21">
                  <c:v>0.12563486804938673</c:v>
                </c:pt>
                <c:pt idx="22">
                  <c:v>0.15846457096401223</c:v>
                </c:pt>
                <c:pt idx="23">
                  <c:v>0.1646893380828811</c:v>
                </c:pt>
                <c:pt idx="24">
                  <c:v>0.14893566205692865</c:v>
                </c:pt>
                <c:pt idx="25">
                  <c:v>0.14456253321958557</c:v>
                </c:pt>
                <c:pt idx="26">
                  <c:v>0.12122529647173241</c:v>
                </c:pt>
                <c:pt idx="27">
                  <c:v>0.10080521431736089</c:v>
                </c:pt>
                <c:pt idx="28">
                  <c:v>0.12960192063754794</c:v>
                </c:pt>
                <c:pt idx="29">
                  <c:v>0.1565955789966239</c:v>
                </c:pt>
                <c:pt idx="30">
                  <c:v>0.11319748139175256</c:v>
                </c:pt>
                <c:pt idx="31">
                  <c:v>0.15159077599388693</c:v>
                </c:pt>
                <c:pt idx="32">
                  <c:v>0.14581373397026975</c:v>
                </c:pt>
                <c:pt idx="33">
                  <c:v>0.1682294899988256</c:v>
                </c:pt>
                <c:pt idx="34">
                  <c:v>0.15402202738321924</c:v>
                </c:pt>
                <c:pt idx="35">
                  <c:v>0.13177980821328816</c:v>
                </c:pt>
                <c:pt idx="36">
                  <c:v>0.10976839306532804</c:v>
                </c:pt>
                <c:pt idx="37">
                  <c:v>0.15828756336821503</c:v>
                </c:pt>
                <c:pt idx="38">
                  <c:v>0.1323906579556473</c:v>
                </c:pt>
                <c:pt idx="39">
                  <c:v>0.1613990792433564</c:v>
                </c:pt>
                <c:pt idx="40">
                  <c:v>0.14761678193138073</c:v>
                </c:pt>
                <c:pt idx="41">
                  <c:v>0.11693372995794293</c:v>
                </c:pt>
                <c:pt idx="42">
                  <c:v>0.19117973955194545</c:v>
                </c:pt>
                <c:pt idx="43">
                  <c:v>0.2218853513170045</c:v>
                </c:pt>
                <c:pt idx="44">
                  <c:v>0.24630025195691707</c:v>
                </c:pt>
                <c:pt idx="45">
                  <c:v>0.23691364327390563</c:v>
                </c:pt>
                <c:pt idx="46">
                  <c:v>0.1375464380253879</c:v>
                </c:pt>
                <c:pt idx="47">
                  <c:v>0.15687150260183724</c:v>
                </c:pt>
                <c:pt idx="48">
                  <c:v>0.14241067617263892</c:v>
                </c:pt>
                <c:pt idx="49">
                  <c:v>0.17186855792418598</c:v>
                </c:pt>
                <c:pt idx="50">
                  <c:v>0.1578224845871008</c:v>
                </c:pt>
                <c:pt idx="51">
                  <c:v>0.12743270990473887</c:v>
                </c:pt>
                <c:pt idx="52">
                  <c:v>0.17327639978741982</c:v>
                </c:pt>
                <c:pt idx="53">
                  <c:v>0.2564780012788713</c:v>
                </c:pt>
                <c:pt idx="54">
                  <c:v>0.1732763997874198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77.0"/>
          <c:min val="3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108808290155441"/>
          <c:min val="0.04613610149942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79</c:f>
              <c:numCache>
                <c:formatCode>General</c:formatCode>
                <c:ptCount val="78"/>
                <c:pt idx="0">
                  <c:v>0.4386507406517999</c:v>
                </c:pt>
                <c:pt idx="1">
                  <c:v>0.44703955986376737</c:v>
                </c:pt>
                <c:pt idx="2">
                  <c:v>0.45047764096023296</c:v>
                </c:pt>
                <c:pt idx="3">
                  <c:v>0.4336887126172735</c:v>
                </c:pt>
                <c:pt idx="4">
                  <c:v>0.44943354472728225</c:v>
                </c:pt>
                <c:pt idx="5">
                  <c:v>0.4400303444186142</c:v>
                </c:pt>
                <c:pt idx="6">
                  <c:v>0.43079894284345727</c:v>
                </c:pt>
                <c:pt idx="7">
                  <c:v>0.4321547524763217</c:v>
                </c:pt>
                <c:pt idx="8">
                  <c:v>0.42830792180480914</c:v>
                </c:pt>
                <c:pt idx="9">
                  <c:v>0.4241046639678625</c:v>
                </c:pt>
                <c:pt idx="10">
                  <c:v>0.4345926528988795</c:v>
                </c:pt>
                <c:pt idx="11">
                  <c:v>0.42976694784041225</c:v>
                </c:pt>
                <c:pt idx="12">
                  <c:v>0.42986415489793345</c:v>
                </c:pt>
                <c:pt idx="13">
                  <c:v>0.43290610686194064</c:v>
                </c:pt>
                <c:pt idx="14">
                  <c:v>0.428300416365234</c:v>
                </c:pt>
                <c:pt idx="15">
                  <c:v>0.4276212361282273</c:v>
                </c:pt>
                <c:pt idx="16">
                  <c:v>0.4278002532349217</c:v>
                </c:pt>
                <c:pt idx="17">
                  <c:v>0.42943477762174465</c:v>
                </c:pt>
                <c:pt idx="18">
                  <c:v>0.425169048847317</c:v>
                </c:pt>
                <c:pt idx="19">
                  <c:v>0.4641564741218332</c:v>
                </c:pt>
                <c:pt idx="20">
                  <c:v>0.46701754445981986</c:v>
                </c:pt>
                <c:pt idx="21">
                  <c:v>0.4641122531580129</c:v>
                </c:pt>
                <c:pt idx="22">
                  <c:v>0.4431570635226941</c:v>
                </c:pt>
                <c:pt idx="23">
                  <c:v>0.42579386997534535</c:v>
                </c:pt>
                <c:pt idx="24">
                  <c:v>0.43191293281256854</c:v>
                </c:pt>
                <c:pt idx="25">
                  <c:v>0.4259744799860164</c:v>
                </c:pt>
                <c:pt idx="26">
                  <c:v>0.4267230476781627</c:v>
                </c:pt>
                <c:pt idx="27">
                  <c:v>0.4266911383190453</c:v>
                </c:pt>
                <c:pt idx="28">
                  <c:v>0.4301006308014524</c:v>
                </c:pt>
                <c:pt idx="29">
                  <c:v>0.4301539587850812</c:v>
                </c:pt>
                <c:pt idx="30">
                  <c:v>0.42793774114806166</c:v>
                </c:pt>
                <c:pt idx="31">
                  <c:v>0.43095998323388734</c:v>
                </c:pt>
                <c:pt idx="32">
                  <c:v>0.4286379934951523</c:v>
                </c:pt>
                <c:pt idx="33">
                  <c:v>0.42921004182286365</c:v>
                </c:pt>
                <c:pt idx="34">
                  <c:v>0.42834538071538936</c:v>
                </c:pt>
                <c:pt idx="35">
                  <c:v>0.4840532092494583</c:v>
                </c:pt>
                <c:pt idx="36">
                  <c:v>0.4875798553394133</c:v>
                </c:pt>
                <c:pt idx="37">
                  <c:v>0.4943387787344402</c:v>
                </c:pt>
                <c:pt idx="38">
                  <c:v>0.49202025668502863</c:v>
                </c:pt>
                <c:pt idx="39">
                  <c:v>0.45246156624565387</c:v>
                </c:pt>
                <c:pt idx="40">
                  <c:v>0.4335753448625582</c:v>
                </c:pt>
                <c:pt idx="41">
                  <c:v>0.4437629017074067</c:v>
                </c:pt>
                <c:pt idx="42">
                  <c:v>0.43602352013969914</c:v>
                </c:pt>
                <c:pt idx="43">
                  <c:v>0.43407846081129925</c:v>
                </c:pt>
                <c:pt idx="44">
                  <c:v>0.44150949201563033</c:v>
                </c:pt>
                <c:pt idx="45">
                  <c:v>0.4697095575251005</c:v>
                </c:pt>
                <c:pt idx="46">
                  <c:v>0.47600581261845437</c:v>
                </c:pt>
                <c:pt idx="47">
                  <c:v>0.47293246401686806</c:v>
                </c:pt>
                <c:pt idx="48">
                  <c:v>0.47749832051440244</c:v>
                </c:pt>
                <c:pt idx="49">
                  <c:v>0.47914686037997345</c:v>
                </c:pt>
                <c:pt idx="50">
                  <c:v>0.48287094276048537</c:v>
                </c:pt>
                <c:pt idx="51">
                  <c:v>0.48499216540159945</c:v>
                </c:pt>
                <c:pt idx="52">
                  <c:v>0.5133101755206333</c:v>
                </c:pt>
                <c:pt idx="53">
                  <c:v>0.4629842316057298</c:v>
                </c:pt>
                <c:pt idx="54">
                  <c:v>0.4633878989513411</c:v>
                </c:pt>
                <c:pt idx="55">
                  <c:v>0.46553920444331487</c:v>
                </c:pt>
                <c:pt idx="56">
                  <c:v>0.4685093033822163</c:v>
                </c:pt>
                <c:pt idx="57">
                  <c:v>0.4641893272093642</c:v>
                </c:pt>
                <c:pt idx="58">
                  <c:v>0.4628630396815539</c:v>
                </c:pt>
                <c:pt idx="59">
                  <c:v>0.4544286791563212</c:v>
                </c:pt>
                <c:pt idx="60">
                  <c:v>0.4485346244140214</c:v>
                </c:pt>
                <c:pt idx="61">
                  <c:v>0.4472456222032926</c:v>
                </c:pt>
                <c:pt idx="62">
                  <c:v>0.4474289848427559</c:v>
                </c:pt>
                <c:pt idx="63">
                  <c:v>0.4469429169939775</c:v>
                </c:pt>
                <c:pt idx="64">
                  <c:v>0.4448778430021152</c:v>
                </c:pt>
                <c:pt idx="65">
                  <c:v>0.4415513992106106</c:v>
                </c:pt>
                <c:pt idx="66">
                  <c:v>0.44678971268274326</c:v>
                </c:pt>
                <c:pt idx="67">
                  <c:v>0.4652624046868361</c:v>
                </c:pt>
                <c:pt idx="68">
                  <c:v>0.47124511864300145</c:v>
                </c:pt>
                <c:pt idx="69">
                  <c:v>0.47178224351172954</c:v>
                </c:pt>
                <c:pt idx="70">
                  <c:v>0.4612531633234607</c:v>
                </c:pt>
                <c:pt idx="71">
                  <c:v>0.49534177007822416</c:v>
                </c:pt>
                <c:pt idx="72">
                  <c:v>0.49717249051279794</c:v>
                </c:pt>
                <c:pt idx="73">
                  <c:v>0.49405281011768376</c:v>
                </c:pt>
                <c:pt idx="74">
                  <c:v>0.4680183501522495</c:v>
                </c:pt>
                <c:pt idx="75">
                  <c:v>0.4021626561976065</c:v>
                </c:pt>
                <c:pt idx="76">
                  <c:v>0.41609431260015256</c:v>
                </c:pt>
                <c:pt idx="77">
                  <c:v>0.4485248527436189</c:v>
                </c:pt>
              </c:numCache>
            </c:numRef>
          </c:xVal>
          <c:yVal>
            <c:numRef>
              <c:f>Sheet1!$B$2:$B$79</c:f>
              <c:numCache>
                <c:formatCode>General</c:formatCode>
                <c:ptCount val="78"/>
                <c:pt idx="0">
                  <c:v>0.10522405386579986</c:v>
                </c:pt>
                <c:pt idx="1">
                  <c:v>0.10422163588390501</c:v>
                </c:pt>
                <c:pt idx="2">
                  <c:v>0.10024154589371981</c:v>
                </c:pt>
                <c:pt idx="3">
                  <c:v>0.13091762914075392</c:v>
                </c:pt>
                <c:pt idx="4">
                  <c:v>0.14597649476591099</c:v>
                </c:pt>
                <c:pt idx="5">
                  <c:v>0.1595194953358835</c:v>
                </c:pt>
                <c:pt idx="6">
                  <c:v>0.17226837060702876</c:v>
                </c:pt>
                <c:pt idx="7">
                  <c:v>0.17950481430536452</c:v>
                </c:pt>
                <c:pt idx="8">
                  <c:v>0.19224283305227655</c:v>
                </c:pt>
                <c:pt idx="9">
                  <c:v>0.21484284500733647</c:v>
                </c:pt>
                <c:pt idx="10">
                  <c:v>0.20443012484897302</c:v>
                </c:pt>
                <c:pt idx="11">
                  <c:v>0.1902278562259307</c:v>
                </c:pt>
                <c:pt idx="12">
                  <c:v>0.14393205267058085</c:v>
                </c:pt>
                <c:pt idx="13">
                  <c:v>0.2272395681353954</c:v>
                </c:pt>
                <c:pt idx="14">
                  <c:v>0.24941005627155563</c:v>
                </c:pt>
                <c:pt idx="15">
                  <c:v>0.22428875403893136</c:v>
                </c:pt>
                <c:pt idx="16">
                  <c:v>0.22183972460171322</c:v>
                </c:pt>
                <c:pt idx="17">
                  <c:v>0.23318862408080093</c:v>
                </c:pt>
                <c:pt idx="18">
                  <c:v>0.23935842072794572</c:v>
                </c:pt>
                <c:pt idx="19">
                  <c:v>0.19024202842873608</c:v>
                </c:pt>
                <c:pt idx="20">
                  <c:v>0.18978151260504203</c:v>
                </c:pt>
                <c:pt idx="21">
                  <c:v>0.11671136939353301</c:v>
                </c:pt>
                <c:pt idx="22">
                  <c:v>0.19335486848177202</c:v>
                </c:pt>
                <c:pt idx="23">
                  <c:v>0.21523024785700046</c:v>
                </c:pt>
                <c:pt idx="24">
                  <c:v>0.21429542981501631</c:v>
                </c:pt>
                <c:pt idx="25">
                  <c:v>0.23569964598472146</c:v>
                </c:pt>
                <c:pt idx="26">
                  <c:v>0.15114590894949703</c:v>
                </c:pt>
                <c:pt idx="27">
                  <c:v>0.18450797872340424</c:v>
                </c:pt>
                <c:pt idx="28">
                  <c:v>0.1837733729235214</c:v>
                </c:pt>
                <c:pt idx="29">
                  <c:v>0.18890491135804563</c:v>
                </c:pt>
                <c:pt idx="30">
                  <c:v>0.19574648185377208</c:v>
                </c:pt>
                <c:pt idx="31">
                  <c:v>0.1922050806170978</c:v>
                </c:pt>
                <c:pt idx="32">
                  <c:v>0.19740293809024134</c:v>
                </c:pt>
                <c:pt idx="33">
                  <c:v>0.20384572635322887</c:v>
                </c:pt>
                <c:pt idx="34">
                  <c:v>0.19657195799876467</c:v>
                </c:pt>
                <c:pt idx="35">
                  <c:v>0.1897182189718219</c:v>
                </c:pt>
                <c:pt idx="36">
                  <c:v>0.13784725889933452</c:v>
                </c:pt>
                <c:pt idx="37">
                  <c:v>0.19597399003873825</c:v>
                </c:pt>
                <c:pt idx="38">
                  <c:v>0.20120196918355604</c:v>
                </c:pt>
                <c:pt idx="39">
                  <c:v>0.14256542533182867</c:v>
                </c:pt>
                <c:pt idx="40">
                  <c:v>0.23336035969632196</c:v>
                </c:pt>
                <c:pt idx="41">
                  <c:v>0.22011235066065354</c:v>
                </c:pt>
                <c:pt idx="42">
                  <c:v>0.21560114837896505</c:v>
                </c:pt>
                <c:pt idx="43">
                  <c:v>0.25123436471362737</c:v>
                </c:pt>
                <c:pt idx="44">
                  <c:v>0.22930903568716782</c:v>
                </c:pt>
                <c:pt idx="45">
                  <c:v>0.1651750590086546</c:v>
                </c:pt>
                <c:pt idx="46">
                  <c:v>0.10684922843410068</c:v>
                </c:pt>
                <c:pt idx="47">
                  <c:v>0.129260350441929</c:v>
                </c:pt>
                <c:pt idx="48">
                  <c:v>0.12908137371003214</c:v>
                </c:pt>
                <c:pt idx="49">
                  <c:v>0.11135238249857943</c:v>
                </c:pt>
                <c:pt idx="50">
                  <c:v>0.10484079426624368</c:v>
                </c:pt>
                <c:pt idx="51">
                  <c:v>0.11739222519591043</c:v>
                </c:pt>
                <c:pt idx="52">
                  <c:v>0.12168850663312913</c:v>
                </c:pt>
                <c:pt idx="53">
                  <c:v>0.15313395057616733</c:v>
                </c:pt>
                <c:pt idx="54">
                  <c:v>0.15223902950426837</c:v>
                </c:pt>
                <c:pt idx="55">
                  <c:v>0.17558373279727849</c:v>
                </c:pt>
                <c:pt idx="56">
                  <c:v>0.17787311277947365</c:v>
                </c:pt>
                <c:pt idx="57">
                  <c:v>0.2275746037368281</c:v>
                </c:pt>
                <c:pt idx="58">
                  <c:v>0.24183006535947713</c:v>
                </c:pt>
                <c:pt idx="59">
                  <c:v>0.24980246077435375</c:v>
                </c:pt>
                <c:pt idx="60">
                  <c:v>0.20862698480088307</c:v>
                </c:pt>
                <c:pt idx="61">
                  <c:v>0.21428571428571427</c:v>
                </c:pt>
                <c:pt idx="62">
                  <c:v>0.21264465622872702</c:v>
                </c:pt>
                <c:pt idx="63">
                  <c:v>0.2144354095062453</c:v>
                </c:pt>
                <c:pt idx="64">
                  <c:v>0.1580602883355177</c:v>
                </c:pt>
                <c:pt idx="65">
                  <c:v>0.2616792249730893</c:v>
                </c:pt>
                <c:pt idx="66">
                  <c:v>0.27425054143394506</c:v>
                </c:pt>
                <c:pt idx="67">
                  <c:v>0.2508115333206034</c:v>
                </c:pt>
                <c:pt idx="68">
                  <c:v>0.2215274303818576</c:v>
                </c:pt>
                <c:pt idx="69">
                  <c:v>0.23396981572584008</c:v>
                </c:pt>
                <c:pt idx="70">
                  <c:v>0.24932523616734142</c:v>
                </c:pt>
                <c:pt idx="71">
                  <c:v>0.15936919033271363</c:v>
                </c:pt>
                <c:pt idx="72">
                  <c:v>0.14279672217816547</c:v>
                </c:pt>
                <c:pt idx="73">
                  <c:v>0.15606221279604102</c:v>
                </c:pt>
                <c:pt idx="74">
                  <c:v>0.18994335268200574</c:v>
                </c:pt>
                <c:pt idx="75">
                  <c:v>0.3791549663684451</c:v>
                </c:pt>
                <c:pt idx="76">
                  <c:v>0.3060189099853947</c:v>
                </c:pt>
                <c:pt idx="77">
                  <c:v>0.2721287490855889</c:v>
                </c:pt>
              </c:numCache>
            </c:numRef>
          </c:yVal>
          <c:smooth val="0"/>
          <c:extLst>
            <c:ext xmlns:c16="http://schemas.microsoft.com/office/drawing/2014/chart" uri="{C3380CC4-5D6E-409C-BE32-E72D297353CC}">
              <c16:uniqueId val="{00000000-096C-4121-9522-6AB7243CCAAE}"/>
            </c:ext>
          </c:extLst>
        </c:ser>
        <c:ser>
          <c:idx val="1"/>
          <c:order val="1"/>
          <c:tx>
            <c:strRef>
              <c:f>Sheet1!$B$8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82:$A$133</c:f>
              <c:numCache>
                <c:formatCode>General</c:formatCode>
                <c:ptCount val="52"/>
                <c:pt idx="0">
                  <c:v>0.42831380036467004</c:v>
                </c:pt>
                <c:pt idx="1">
                  <c:v>0.4158741905642923</c:v>
                </c:pt>
                <c:pt idx="2">
                  <c:v>0.41444944465864486</c:v>
                </c:pt>
                <c:pt idx="3">
                  <c:v>0.4163443104434547</c:v>
                </c:pt>
                <c:pt idx="4">
                  <c:v>0.421999151618894</c:v>
                </c:pt>
                <c:pt idx="5">
                  <c:v>0.41754352131376143</c:v>
                </c:pt>
                <c:pt idx="6">
                  <c:v>0.4139043988488994</c:v>
                </c:pt>
                <c:pt idx="7">
                  <c:v>0.418630481479541</c:v>
                </c:pt>
                <c:pt idx="8">
                  <c:v>0.4107316213457486</c:v>
                </c:pt>
                <c:pt idx="9">
                  <c:v>0.44640596069999405</c:v>
                </c:pt>
                <c:pt idx="10">
                  <c:v>0.5110180715170676</c:v>
                </c:pt>
                <c:pt idx="11">
                  <c:v>0.5205468515423373</c:v>
                </c:pt>
                <c:pt idx="12">
                  <c:v>0.5161039486166623</c:v>
                </c:pt>
                <c:pt idx="13">
                  <c:v>0.5168663055936356</c:v>
                </c:pt>
                <c:pt idx="14">
                  <c:v>0.4361793709789774</c:v>
                </c:pt>
                <c:pt idx="15">
                  <c:v>0.4069880292844686</c:v>
                </c:pt>
                <c:pt idx="16">
                  <c:v>0.4061664874713645</c:v>
                </c:pt>
                <c:pt idx="17">
                  <c:v>0.4070305451350966</c:v>
                </c:pt>
                <c:pt idx="18">
                  <c:v>0.4342238543294499</c:v>
                </c:pt>
                <c:pt idx="19">
                  <c:v>0.45028295826645026</c:v>
                </c:pt>
                <c:pt idx="20">
                  <c:v>0.5078311536791839</c:v>
                </c:pt>
                <c:pt idx="21">
                  <c:v>0.5538057289055612</c:v>
                </c:pt>
                <c:pt idx="22">
                  <c:v>0.5220541892051004</c:v>
                </c:pt>
                <c:pt idx="23">
                  <c:v>0.5228764753694067</c:v>
                </c:pt>
                <c:pt idx="24">
                  <c:v>0.5216668190656276</c:v>
                </c:pt>
                <c:pt idx="25">
                  <c:v>0.5266663917554114</c:v>
                </c:pt>
                <c:pt idx="26">
                  <c:v>0.5244890829090104</c:v>
                </c:pt>
                <c:pt idx="27">
                  <c:v>0.4785737110618933</c:v>
                </c:pt>
                <c:pt idx="28">
                  <c:v>0.4521859788673869</c:v>
                </c:pt>
                <c:pt idx="29">
                  <c:v>0.45469630599609256</c:v>
                </c:pt>
                <c:pt idx="30">
                  <c:v>0.4530945555739982</c:v>
                </c:pt>
                <c:pt idx="31">
                  <c:v>0.48201110022853416</c:v>
                </c:pt>
                <c:pt idx="32">
                  <c:v>0.4517653616708375</c:v>
                </c:pt>
                <c:pt idx="33">
                  <c:v>0.448178976052186</c:v>
                </c:pt>
                <c:pt idx="34">
                  <c:v>0.4462221495076896</c:v>
                </c:pt>
                <c:pt idx="35">
                  <c:v>0.4477880421370614</c:v>
                </c:pt>
                <c:pt idx="36">
                  <c:v>0.44692462310062503</c:v>
                </c:pt>
                <c:pt idx="37">
                  <c:v>0.4490555919680629</c:v>
                </c:pt>
                <c:pt idx="38">
                  <c:v>0.45403896803543636</c:v>
                </c:pt>
                <c:pt idx="39">
                  <c:v>0.44730428853081133</c:v>
                </c:pt>
                <c:pt idx="40">
                  <c:v>0.4469965950958084</c:v>
                </c:pt>
                <c:pt idx="41">
                  <c:v>0.4537641801306291</c:v>
                </c:pt>
                <c:pt idx="42">
                  <c:v>0.4251401888766009</c:v>
                </c:pt>
                <c:pt idx="43">
                  <c:v>0.4204171419987298</c:v>
                </c:pt>
                <c:pt idx="44">
                  <c:v>0.41434423556891414</c:v>
                </c:pt>
                <c:pt idx="45">
                  <c:v>0.4178703583363585</c:v>
                </c:pt>
                <c:pt idx="46">
                  <c:v>0.48135372876428645</c:v>
                </c:pt>
                <c:pt idx="47">
                  <c:v>0.5033414889436998</c:v>
                </c:pt>
                <c:pt idx="48">
                  <c:v>0.4973680979083951</c:v>
                </c:pt>
                <c:pt idx="49">
                  <c:v>0.46891469260986723</c:v>
                </c:pt>
                <c:pt idx="50">
                  <c:v>0.4500150777324285</c:v>
                </c:pt>
                <c:pt idx="51">
                  <c:v>0.4495354692028878</c:v>
                </c:pt>
              </c:numCache>
            </c:numRef>
          </c:xVal>
          <c:yVal>
            <c:numRef>
              <c:f>Sheet1!$B$82:$B$133</c:f>
              <c:numCache>
                <c:formatCode>General</c:formatCode>
                <c:ptCount val="52"/>
                <c:pt idx="0">
                  <c:v>0.22054416172063232</c:v>
                </c:pt>
                <c:pt idx="1">
                  <c:v>0.2299869019184837</c:v>
                </c:pt>
                <c:pt idx="2">
                  <c:v>0.2423264817033828</c:v>
                </c:pt>
                <c:pt idx="3">
                  <c:v>0.24411331861662988</c:v>
                </c:pt>
                <c:pt idx="4">
                  <c:v>0.21309319032682383</c:v>
                </c:pt>
                <c:pt idx="5">
                  <c:v>0.24331870761866772</c:v>
                </c:pt>
                <c:pt idx="6">
                  <c:v>0.2470384281999422</c:v>
                </c:pt>
                <c:pt idx="7">
                  <c:v>0.26767063395676466</c:v>
                </c:pt>
                <c:pt idx="8">
                  <c:v>0.27486935866983375</c:v>
                </c:pt>
                <c:pt idx="9">
                  <c:v>0.18475177304964538</c:v>
                </c:pt>
                <c:pt idx="10">
                  <c:v>0.16512374834687324</c:v>
                </c:pt>
                <c:pt idx="11">
                  <c:v>0.19516189058429476</c:v>
                </c:pt>
                <c:pt idx="12">
                  <c:v>0.18472506529258134</c:v>
                </c:pt>
                <c:pt idx="13">
                  <c:v>0.145950423001834</c:v>
                </c:pt>
                <c:pt idx="14">
                  <c:v>0.1816568386099502</c:v>
                </c:pt>
                <c:pt idx="15">
                  <c:v>0.24011094234960048</c:v>
                </c:pt>
                <c:pt idx="16">
                  <c:v>0.25625653537818055</c:v>
                </c:pt>
                <c:pt idx="17">
                  <c:v>0.25042611773960927</c:v>
                </c:pt>
                <c:pt idx="18">
                  <c:v>0.2734648972014027</c:v>
                </c:pt>
                <c:pt idx="19">
                  <c:v>0.2675431108075807</c:v>
                </c:pt>
                <c:pt idx="20">
                  <c:v>0.17366666666666666</c:v>
                </c:pt>
                <c:pt idx="21">
                  <c:v>0.2138279345175897</c:v>
                </c:pt>
                <c:pt idx="22">
                  <c:v>0.13471553183179275</c:v>
                </c:pt>
                <c:pt idx="23">
                  <c:v>0.11274746499275712</c:v>
                </c:pt>
                <c:pt idx="24">
                  <c:v>0.11372148450800136</c:v>
                </c:pt>
                <c:pt idx="25">
                  <c:v>0.10955436168979245</c:v>
                </c:pt>
                <c:pt idx="26">
                  <c:v>0.14610227159011308</c:v>
                </c:pt>
                <c:pt idx="27">
                  <c:v>0.19410986562695814</c:v>
                </c:pt>
                <c:pt idx="28">
                  <c:v>0.2652447618152777</c:v>
                </c:pt>
                <c:pt idx="29">
                  <c:v>0.2878772378516624</c:v>
                </c:pt>
                <c:pt idx="30">
                  <c:v>0.29032934759807005</c:v>
                </c:pt>
                <c:pt idx="31">
                  <c:v>0.23104461171286947</c:v>
                </c:pt>
                <c:pt idx="32">
                  <c:v>0.14737299714321203</c:v>
                </c:pt>
                <c:pt idx="33">
                  <c:v>0.24292337725719865</c:v>
                </c:pt>
                <c:pt idx="34">
                  <c:v>0.24787457215413491</c:v>
                </c:pt>
                <c:pt idx="35">
                  <c:v>0.18291873963515753</c:v>
                </c:pt>
                <c:pt idx="36">
                  <c:v>0.18772136953955135</c:v>
                </c:pt>
                <c:pt idx="37">
                  <c:v>0.1847914963205233</c:v>
                </c:pt>
                <c:pt idx="38">
                  <c:v>0.17642184557438795</c:v>
                </c:pt>
                <c:pt idx="39">
                  <c:v>0.2385684136475554</c:v>
                </c:pt>
                <c:pt idx="40">
                  <c:v>0.24551558272371982</c:v>
                </c:pt>
                <c:pt idx="41">
                  <c:v>0.20328020328020327</c:v>
                </c:pt>
                <c:pt idx="42">
                  <c:v>0.29375650364203953</c:v>
                </c:pt>
                <c:pt idx="43">
                  <c:v>0.30129772428060936</c:v>
                </c:pt>
                <c:pt idx="44">
                  <c:v>0.3085829810696563</c:v>
                </c:pt>
                <c:pt idx="45">
                  <c:v>0.30871949765519435</c:v>
                </c:pt>
                <c:pt idx="46">
                  <c:v>0.19304475256453613</c:v>
                </c:pt>
                <c:pt idx="47">
                  <c:v>0.1867333763718528</c:v>
                </c:pt>
                <c:pt idx="48">
                  <c:v>0.1795324217026908</c:v>
                </c:pt>
                <c:pt idx="49">
                  <c:v>0.23046121904196945</c:v>
                </c:pt>
                <c:pt idx="50">
                  <c:v>0.25018909152029584</c:v>
                </c:pt>
                <c:pt idx="51">
                  <c:v>0.22538467671211035</c:v>
                </c:pt>
              </c:numCache>
            </c:numRef>
          </c:yVal>
          <c:smooth val="0"/>
          <c:extLst>
            <c:ext xmlns:c16="http://schemas.microsoft.com/office/drawing/2014/chart" uri="{C3380CC4-5D6E-409C-BE32-E72D297353CC}">
              <c16:uniqueId val="{00000002-096C-4121-9522-6AB7243CCAAE}"/>
            </c:ext>
          </c:extLst>
        </c:ser>
        <c:ser>
          <c:idx val="2"/>
          <c:order val="2"/>
          <c:tx>
            <c:strRef>
              <c:f>Sheet1!$B$13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36:$A$137</c:f>
              <c:numCache>
                <c:formatCode>General</c:formatCode>
                <c:ptCount val="2"/>
                <c:pt idx="0">
                  <c:v>0</c:v>
                </c:pt>
                <c:pt idx="1">
                  <c:v>0.4305045400233873</c:v>
                </c:pt>
              </c:numCache>
            </c:numRef>
          </c:xVal>
          <c:yVal>
            <c:numRef>
              <c:f>Sheet1!$B$136:$B$137</c:f>
              <c:numCache>
                <c:formatCode>General</c:formatCode>
                <c:ptCount val="2"/>
                <c:pt idx="0">
                  <c:v>0.24346664955480257</c:v>
                </c:pt>
                <c:pt idx="1">
                  <c:v>0.24346664955480257</c:v>
                </c:pt>
              </c:numCache>
            </c:numRef>
          </c:yVal>
          <c:smooth val="0"/>
          <c:extLst>
            <c:ext xmlns:c16="http://schemas.microsoft.com/office/drawing/2014/chart" uri="{C3380CC4-5D6E-409C-BE32-E72D297353CC}">
              <c16:uniqueId val="{00000005-096C-4121-9522-6AB7243CCAAE}"/>
            </c:ext>
          </c:extLst>
        </c:ser>
        <c:ser>
          <c:idx val="3"/>
          <c:order val="3"/>
          <c:tx>
            <c:strRef>
              <c:f>Sheet1!$B$13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0:$A$141</c:f>
              <c:numCache>
                <c:formatCode>General</c:formatCode>
                <c:ptCount val="2"/>
                <c:pt idx="0">
                  <c:v>0.4305045400233873</c:v>
                </c:pt>
                <c:pt idx="1">
                  <c:v>0.4305045400233873</c:v>
                </c:pt>
              </c:numCache>
            </c:numRef>
          </c:xVal>
          <c:yVal>
            <c:numRef>
              <c:f>Sheet1!$B$140:$B$141</c:f>
              <c:numCache>
                <c:formatCode>General</c:formatCode>
                <c:ptCount val="2"/>
                <c:pt idx="0">
                  <c:v>0.243466649554802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4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44:$A$145</c:f>
              <c:numCache>
                <c:formatCode>General</c:formatCode>
                <c:ptCount val="2"/>
                <c:pt idx="0">
                  <c:v>0</c:v>
                </c:pt>
                <c:pt idx="1">
                  <c:v>0.4305045400233873</c:v>
                </c:pt>
              </c:numCache>
            </c:numRef>
          </c:xVal>
          <c:yVal>
            <c:numRef>
              <c:f>Sheet1!$B$144:$B$145</c:f>
              <c:numCache>
                <c:formatCode>General</c:formatCode>
                <c:ptCount val="2"/>
                <c:pt idx="0">
                  <c:v>0.24346664955480257</c:v>
                </c:pt>
                <c:pt idx="1">
                  <c:v>0.24346664955480257</c:v>
                </c:pt>
              </c:numCache>
            </c:numRef>
          </c:yVal>
          <c:smooth val="0"/>
          <c:extLst>
            <c:ext xmlns:c16="http://schemas.microsoft.com/office/drawing/2014/chart" uri="{C3380CC4-5D6E-409C-BE32-E72D297353CC}">
              <c16:uniqueId val="{0000000D-096C-4121-9522-6AB7243CCAAE}"/>
            </c:ext>
          </c:extLst>
        </c:ser>
        <c:ser>
          <c:idx val="5"/>
          <c:order val="5"/>
          <c:tx>
            <c:strRef>
              <c:f>Sheet1!$B$14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8:$A$149</c:f>
              <c:numCache>
                <c:formatCode>General</c:formatCode>
                <c:ptCount val="2"/>
                <c:pt idx="0">
                  <c:v>0.4305045400233873</c:v>
                </c:pt>
                <c:pt idx="1">
                  <c:v>0.4305045400233873</c:v>
                </c:pt>
              </c:numCache>
            </c:numRef>
          </c:xVal>
          <c:yVal>
            <c:numRef>
              <c:f>Sheet1!$B$148:$B$149</c:f>
              <c:numCache>
                <c:formatCode>General</c:formatCode>
                <c:ptCount val="2"/>
                <c:pt idx="0">
                  <c:v>0.243466649554802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5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52:$A$153</c:f>
              <c:numCache>
                <c:formatCode>General</c:formatCode>
                <c:ptCount val="2"/>
                <c:pt idx="0">
                  <c:v>0</c:v>
                </c:pt>
                <c:pt idx="1">
                  <c:v>0.4305045400233873</c:v>
                </c:pt>
              </c:numCache>
            </c:numRef>
          </c:xVal>
          <c:yVal>
            <c:numRef>
              <c:f>Sheet1!$B$152:$B$153</c:f>
              <c:numCache>
                <c:formatCode>General</c:formatCode>
                <c:ptCount val="2"/>
                <c:pt idx="0">
                  <c:v>0.24346664955480257</c:v>
                </c:pt>
                <c:pt idx="1">
                  <c:v>0.24346664955480257</c:v>
                </c:pt>
              </c:numCache>
            </c:numRef>
          </c:yVal>
          <c:smooth val="0"/>
          <c:extLst>
            <c:ext xmlns:c16="http://schemas.microsoft.com/office/drawing/2014/chart" uri="{C3380CC4-5D6E-409C-BE32-E72D297353CC}">
              <c16:uniqueId val="{00000015-096C-4121-9522-6AB7243CCAAE}"/>
            </c:ext>
          </c:extLst>
        </c:ser>
        <c:ser>
          <c:idx val="7"/>
          <c:order val="7"/>
          <c:tx>
            <c:strRef>
              <c:f>Sheet1!$B$15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56:$A$157</c:f>
              <c:numCache>
                <c:formatCode>General</c:formatCode>
                <c:ptCount val="2"/>
                <c:pt idx="0">
                  <c:v>0.4305045400233873</c:v>
                </c:pt>
                <c:pt idx="1">
                  <c:v>0.4305045400233873</c:v>
                </c:pt>
              </c:numCache>
            </c:numRef>
          </c:xVal>
          <c:yVal>
            <c:numRef>
              <c:f>Sheet1!$B$156:$B$157</c:f>
              <c:numCache>
                <c:formatCode>General</c:formatCode>
                <c:ptCount val="2"/>
                <c:pt idx="0">
                  <c:v>0.2434666495548025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5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60:$A$214</c:f>
              <c:numCache>
                <c:formatCode>General</c:formatCode>
                <c:ptCount val="55"/>
                <c:pt idx="0">
                  <c:v>0.42831380036467004</c:v>
                </c:pt>
                <c:pt idx="1">
                  <c:v>0.4158741905642923</c:v>
                </c:pt>
                <c:pt idx="2">
                  <c:v>0.41444944465864486</c:v>
                </c:pt>
                <c:pt idx="3">
                  <c:v>0.4163443104434547</c:v>
                </c:pt>
                <c:pt idx="4">
                  <c:v>0.421999151618894</c:v>
                </c:pt>
                <c:pt idx="5">
                  <c:v>0.41754352131376143</c:v>
                </c:pt>
                <c:pt idx="6">
                  <c:v>0.4139043988488994</c:v>
                </c:pt>
                <c:pt idx="7">
                  <c:v>0.418630481479541</c:v>
                </c:pt>
                <c:pt idx="8">
                  <c:v>0.4107316213457486</c:v>
                </c:pt>
                <c:pt idx="9">
                  <c:v>0.44640596069999405</c:v>
                </c:pt>
                <c:pt idx="10">
                  <c:v>0.5110180715170676</c:v>
                </c:pt>
                <c:pt idx="11">
                  <c:v>0.5205468515423373</c:v>
                </c:pt>
                <c:pt idx="12">
                  <c:v>0.5161039486166623</c:v>
                </c:pt>
                <c:pt idx="13">
                  <c:v>0.5168663055936356</c:v>
                </c:pt>
                <c:pt idx="14">
                  <c:v>0.4361793709789774</c:v>
                </c:pt>
                <c:pt idx="15">
                  <c:v>0.4069880292844686</c:v>
                </c:pt>
                <c:pt idx="16">
                  <c:v>0.4061664874713645</c:v>
                </c:pt>
                <c:pt idx="17">
                  <c:v>0.4070305451350966</c:v>
                </c:pt>
                <c:pt idx="18">
                  <c:v>0.4342238543294499</c:v>
                </c:pt>
                <c:pt idx="19">
                  <c:v>0.45028295826645026</c:v>
                </c:pt>
                <c:pt idx="20">
                  <c:v>0.5078311536791839</c:v>
                </c:pt>
                <c:pt idx="21">
                  <c:v>0.5538057289055612</c:v>
                </c:pt>
                <c:pt idx="22">
                  <c:v>0.5220541892051004</c:v>
                </c:pt>
                <c:pt idx="23">
                  <c:v>0.5228764753694067</c:v>
                </c:pt>
                <c:pt idx="24">
                  <c:v>0.5216668190656276</c:v>
                </c:pt>
                <c:pt idx="25">
                  <c:v>0.5266663917554114</c:v>
                </c:pt>
                <c:pt idx="26">
                  <c:v>0.5244890829090104</c:v>
                </c:pt>
                <c:pt idx="27">
                  <c:v>0.4785737110618933</c:v>
                </c:pt>
                <c:pt idx="28">
                  <c:v>0.4521859788673869</c:v>
                </c:pt>
                <c:pt idx="29">
                  <c:v>0.45469630599609256</c:v>
                </c:pt>
                <c:pt idx="30">
                  <c:v>0.4530945555739982</c:v>
                </c:pt>
                <c:pt idx="31">
                  <c:v>0.48201110022853416</c:v>
                </c:pt>
                <c:pt idx="32">
                  <c:v>0.4517653616708375</c:v>
                </c:pt>
                <c:pt idx="33">
                  <c:v>0.448178976052186</c:v>
                </c:pt>
                <c:pt idx="34">
                  <c:v>0.4462221495076896</c:v>
                </c:pt>
                <c:pt idx="35">
                  <c:v>0.4477880421370614</c:v>
                </c:pt>
                <c:pt idx="36">
                  <c:v>0.44692462310062503</c:v>
                </c:pt>
                <c:pt idx="37">
                  <c:v>0.4490555919680629</c:v>
                </c:pt>
                <c:pt idx="38">
                  <c:v>0.45403896803543636</c:v>
                </c:pt>
                <c:pt idx="39">
                  <c:v>0.44730428853081133</c:v>
                </c:pt>
                <c:pt idx="40">
                  <c:v>0.4469965950958084</c:v>
                </c:pt>
                <c:pt idx="41">
                  <c:v>0.4537641801306291</c:v>
                </c:pt>
                <c:pt idx="42">
                  <c:v>0.4251401888766009</c:v>
                </c:pt>
                <c:pt idx="43">
                  <c:v>0.4204171419987298</c:v>
                </c:pt>
                <c:pt idx="44">
                  <c:v>0.41434423556891414</c:v>
                </c:pt>
                <c:pt idx="45">
                  <c:v>0.4178703583363585</c:v>
                </c:pt>
                <c:pt idx="46">
                  <c:v>0.48135372876428645</c:v>
                </c:pt>
                <c:pt idx="47">
                  <c:v>0.5033414889436998</c:v>
                </c:pt>
                <c:pt idx="48">
                  <c:v>0.4973680979083951</c:v>
                </c:pt>
                <c:pt idx="49">
                  <c:v>0.46891469260986723</c:v>
                </c:pt>
                <c:pt idx="50">
                  <c:v>0.4500150777324285</c:v>
                </c:pt>
                <c:pt idx="51">
                  <c:v>0.4495354692028878</c:v>
                </c:pt>
                <c:pt idx="52">
                  <c:v>0.4305045400233873</c:v>
                </c:pt>
                <c:pt idx="53">
                  <c:v>0.4305045400233873</c:v>
                </c:pt>
                <c:pt idx="54">
                  <c:v>0.4305045400233873</c:v>
                </c:pt>
              </c:numCache>
            </c:numRef>
          </c:xVal>
          <c:yVal>
            <c:numRef>
              <c:f>Sheet1!$B$160:$B$214</c:f>
              <c:numCache>
                <c:formatCode>General</c:formatCode>
                <c:ptCount val="55"/>
                <c:pt idx="0">
                  <c:v>0.24547596224795387</c:v>
                </c:pt>
                <c:pt idx="1">
                  <c:v>0.25688538087526064</c:v>
                </c:pt>
                <c:pt idx="2">
                  <c:v>0.2581921358889573</c:v>
                </c:pt>
                <c:pt idx="3">
                  <c:v>0.25645419415859855</c:v>
                </c:pt>
                <c:pt idx="4">
                  <c:v>0.25126766087685853</c:v>
                </c:pt>
                <c:pt idx="5">
                  <c:v>0.2553542964076795</c:v>
                </c:pt>
                <c:pt idx="6">
                  <c:v>0.25869204351582326</c:v>
                </c:pt>
                <c:pt idx="7">
                  <c:v>0.25435735327508946</c:v>
                </c:pt>
                <c:pt idx="8">
                  <c:v>0.2616020662034842</c:v>
                </c:pt>
                <c:pt idx="9">
                  <c:v>0.22888211127910768</c:v>
                </c:pt>
                <c:pt idx="10">
                  <c:v>0.16962087780508478</c:v>
                </c:pt>
                <c:pt idx="11">
                  <c:v>0.1608812274414118</c:v>
                </c:pt>
                <c:pt idx="12">
                  <c:v>0.16495618961570546</c:v>
                </c:pt>
                <c:pt idx="13">
                  <c:v>0.16425696753130603</c:v>
                </c:pt>
                <c:pt idx="14">
                  <c:v>0.23826178195440878</c:v>
                </c:pt>
                <c:pt idx="15">
                  <c:v>0.26503563121737306</c:v>
                </c:pt>
                <c:pt idx="16">
                  <c:v>0.26578913672244575</c:v>
                </c:pt>
                <c:pt idx="17">
                  <c:v>0.26499663633361903</c:v>
                </c:pt>
                <c:pt idx="18">
                  <c:v>0.2400553517242942</c:v>
                </c:pt>
                <c:pt idx="19">
                  <c:v>0.22532618878936805</c:v>
                </c:pt>
                <c:pt idx="20">
                  <c:v>0.17254386979010206</c:v>
                </c:pt>
                <c:pt idx="21">
                  <c:v>0.13037669707424893</c:v>
                </c:pt>
                <c:pt idx="22">
                  <c:v>0.15949872053941488</c:v>
                </c:pt>
                <c:pt idx="23">
                  <c:v>0.15874453232687719</c:v>
                </c:pt>
                <c:pt idx="24">
                  <c:v>0.1598540104685917</c:v>
                </c:pt>
                <c:pt idx="25">
                  <c:v>0.15526847935541632</c:v>
                </c:pt>
                <c:pt idx="26">
                  <c:v>0.1572654735142502</c:v>
                </c:pt>
                <c:pt idx="27">
                  <c:v>0.19937834580195718</c:v>
                </c:pt>
                <c:pt idx="28">
                  <c:v>0.2235807675871841</c:v>
                </c:pt>
                <c:pt idx="29">
                  <c:v>0.22127833418593557</c:v>
                </c:pt>
                <c:pt idx="30">
                  <c:v>0.2227474350175055</c:v>
                </c:pt>
                <c:pt idx="31">
                  <c:v>0.19622562536968252</c:v>
                </c:pt>
                <c:pt idx="32">
                  <c:v>0.22396655120534315</c:v>
                </c:pt>
                <c:pt idx="33">
                  <c:v>0.2272559288899153</c:v>
                </c:pt>
                <c:pt idx="34">
                  <c:v>0.22905070007530304</c:v>
                </c:pt>
                <c:pt idx="35">
                  <c:v>0.2276144874592631</c:v>
                </c:pt>
                <c:pt idx="36">
                  <c:v>0.2284064021089645</c:v>
                </c:pt>
                <c:pt idx="37">
                  <c:v>0.2264519102655292</c:v>
                </c:pt>
                <c:pt idx="38">
                  <c:v>0.22188123444511565</c:v>
                </c:pt>
                <c:pt idx="39">
                  <c:v>0.22805817882054752</c:v>
                </c:pt>
                <c:pt idx="40">
                  <c:v>0.2283403905028396</c:v>
                </c:pt>
                <c:pt idx="41">
                  <c:v>0.22213326568162373</c:v>
                </c:pt>
                <c:pt idx="42">
                  <c:v>0.24838674985374454</c:v>
                </c:pt>
                <c:pt idx="43">
                  <c:v>0.2527186557487662</c:v>
                </c:pt>
                <c:pt idx="44">
                  <c:v>0.25828863204658586</c:v>
                </c:pt>
                <c:pt idx="45">
                  <c:v>0.2550545265215212</c:v>
                </c:pt>
                <c:pt idx="46">
                  <c:v>0.19682855635784102</c:v>
                </c:pt>
                <c:pt idx="47">
                  <c:v>0.176661721176553</c:v>
                </c:pt>
                <c:pt idx="48">
                  <c:v>0.18214042348635723</c:v>
                </c:pt>
                <c:pt idx="49">
                  <c:v>0.20823744884590473</c:v>
                </c:pt>
                <c:pt idx="50">
                  <c:v>0.22557188469171607</c:v>
                </c:pt>
                <c:pt idx="51">
                  <c:v>0.2260117742524474</c:v>
                </c:pt>
                <c:pt idx="52">
                  <c:v>0.24346664955480257</c:v>
                </c:pt>
                <c:pt idx="53">
                  <c:v>0.24346664955480257</c:v>
                </c:pt>
                <c:pt idx="54">
                  <c:v>0.2434666495548025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utz</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5498595964213406"/>
          <c:min val="0.0801932367149758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Deutz | Champagnes | CA B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3586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Ruinart | Blanc De Blancs | NICOLAS QC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9031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Malard | Blanc De Blancs | NICOLAS QC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1571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Besserat De Bellefon | Blanc De Blancs | NICOLAS QC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6449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Deutz | Bruts | NICOLA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4596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Deutz | Bruts | NICOLAS QC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0467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Deutz | Bruts | NICOLAS PAC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6182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Deutz | Bruts | CA B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5213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Nicolas vs Deutz | Bruts | CA 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112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39</Words>
  <Application>Microsoft Office PowerPoint</Application>
  <PresentationFormat>On-screen Show (16:9)</PresentationFormat>
  <Paragraphs>117</Paragraphs>
  <Slides>9</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1T11:1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